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6" r:id="rId2"/>
  </p:sldMasterIdLst>
  <p:notesMasterIdLst>
    <p:notesMasterId r:id="rId29"/>
  </p:notesMasterIdLst>
  <p:sldIdLst>
    <p:sldId id="256" r:id="rId3"/>
    <p:sldId id="287" r:id="rId4"/>
    <p:sldId id="335" r:id="rId5"/>
    <p:sldId id="337" r:id="rId6"/>
    <p:sldId id="339" r:id="rId7"/>
    <p:sldId id="353" r:id="rId8"/>
    <p:sldId id="355" r:id="rId9"/>
    <p:sldId id="354" r:id="rId10"/>
    <p:sldId id="334" r:id="rId11"/>
    <p:sldId id="322" r:id="rId12"/>
    <p:sldId id="338" r:id="rId13"/>
    <p:sldId id="320" r:id="rId14"/>
    <p:sldId id="323" r:id="rId15"/>
    <p:sldId id="343" r:id="rId16"/>
    <p:sldId id="344" r:id="rId17"/>
    <p:sldId id="345" r:id="rId18"/>
    <p:sldId id="347" r:id="rId19"/>
    <p:sldId id="346" r:id="rId20"/>
    <p:sldId id="348" r:id="rId21"/>
    <p:sldId id="349" r:id="rId22"/>
    <p:sldId id="319" r:id="rId23"/>
    <p:sldId id="340" r:id="rId24"/>
    <p:sldId id="351" r:id="rId25"/>
    <p:sldId id="286" r:id="rId26"/>
    <p:sldId id="350" r:id="rId27"/>
    <p:sldId id="336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A5B8"/>
    <a:srgbClr val="FF9B9B"/>
    <a:srgbClr val="78660A"/>
    <a:srgbClr val="146E14"/>
    <a:srgbClr val="6D7885"/>
    <a:srgbClr val="AB378A"/>
    <a:srgbClr val="E4E4E4"/>
    <a:srgbClr val="FFC92D"/>
    <a:srgbClr val="2A94DD"/>
    <a:srgbClr val="DEDE0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337DFA-A7B0-6D47-9D13-91FEBD3F1BEF}" v="8" dt="2025-03-05T09:12:11.57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11848" autoAdjust="0"/>
    <p:restoredTop sz="94650"/>
  </p:normalViewPr>
  <p:slideViewPr>
    <p:cSldViewPr snapToGrid="0">
      <p:cViewPr>
        <p:scale>
          <a:sx n="84" d="100"/>
          <a:sy n="84" d="100"/>
        </p:scale>
        <p:origin x="800" y="9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microsoft.com/office/2016/11/relationships/changesInfo" Target="changesInfos/changesInfo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ralk F" userId="0ce5ef93c6cc7083" providerId="LiveId" clId="{7E337DFA-A7B0-6D47-9D13-91FEBD3F1BEF}"/>
    <pc:docChg chg="undo custSel modSld">
      <pc:chgData name="Dralk F" userId="0ce5ef93c6cc7083" providerId="LiveId" clId="{7E337DFA-A7B0-6D47-9D13-91FEBD3F1BEF}" dt="2025-03-05T09:12:11.745" v="16" actId="14100"/>
      <pc:docMkLst>
        <pc:docMk/>
      </pc:docMkLst>
      <pc:sldChg chg="modSp mod">
        <pc:chgData name="Dralk F" userId="0ce5ef93c6cc7083" providerId="LiveId" clId="{7E337DFA-A7B0-6D47-9D13-91FEBD3F1BEF}" dt="2025-03-05T09:12:10.807" v="12" actId="1035"/>
        <pc:sldMkLst>
          <pc:docMk/>
          <pc:sldMk cId="2470169617" sldId="319"/>
        </pc:sldMkLst>
        <pc:spChg chg="mod">
          <ac:chgData name="Dralk F" userId="0ce5ef93c6cc7083" providerId="LiveId" clId="{7E337DFA-A7B0-6D47-9D13-91FEBD3F1BEF}" dt="2025-03-05T09:12:10.807" v="12" actId="1035"/>
          <ac:spMkLst>
            <pc:docMk/>
            <pc:sldMk cId="2470169617" sldId="319"/>
            <ac:spMk id="12" creationId="{2C14DAAA-858C-D7B5-9394-EB50F51674D4}"/>
          </ac:spMkLst>
        </pc:spChg>
        <pc:graphicFrameChg chg="mod">
          <ac:chgData name="Dralk F" userId="0ce5ef93c6cc7083" providerId="LiveId" clId="{7E337DFA-A7B0-6D47-9D13-91FEBD3F1BEF}" dt="2025-03-05T09:11:22.646" v="10" actId="20577"/>
          <ac:graphicFrameMkLst>
            <pc:docMk/>
            <pc:sldMk cId="2470169617" sldId="319"/>
            <ac:graphicFrameMk id="3" creationId="{00000000-0000-0000-0000-000000000000}"/>
          </ac:graphicFrameMkLst>
        </pc:graphicFrameChg>
      </pc:sldChg>
      <pc:sldChg chg="addSp delSp modSp mod">
        <pc:chgData name="Dralk F" userId="0ce5ef93c6cc7083" providerId="LiveId" clId="{7E337DFA-A7B0-6D47-9D13-91FEBD3F1BEF}" dt="2025-03-05T09:12:11.745" v="16" actId="14100"/>
        <pc:sldMkLst>
          <pc:docMk/>
          <pc:sldMk cId="614875116" sldId="338"/>
        </pc:sldMkLst>
        <pc:spChg chg="add del mod">
          <ac:chgData name="Dralk F" userId="0ce5ef93c6cc7083" providerId="LiveId" clId="{7E337DFA-A7B0-6D47-9D13-91FEBD3F1BEF}" dt="2025-03-05T09:12:11.577" v="14" actId="767"/>
          <ac:spMkLst>
            <pc:docMk/>
            <pc:sldMk cId="614875116" sldId="338"/>
            <ac:spMk id="4" creationId="{A1D6BACF-FB85-1144-B478-00661287DB59}"/>
          </ac:spMkLst>
        </pc:spChg>
        <pc:picChg chg="mod">
          <ac:chgData name="Dralk F" userId="0ce5ef93c6cc7083" providerId="LiveId" clId="{7E337DFA-A7B0-6D47-9D13-91FEBD3F1BEF}" dt="2025-03-05T09:12:11.745" v="16" actId="14100"/>
          <ac:picMkLst>
            <pc:docMk/>
            <pc:sldMk cId="614875116" sldId="338"/>
            <ac:picMk id="2" creationId="{00000000-0000-0000-0000-000000000000}"/>
          </ac:picMkLst>
        </pc:picChg>
        <pc:picChg chg="add mod">
          <ac:chgData name="Dralk F" userId="0ce5ef93c6cc7083" providerId="LiveId" clId="{7E337DFA-A7B0-6D47-9D13-91FEBD3F1BEF}" dt="2025-03-05T09:04:33.251" v="3" actId="571"/>
          <ac:picMkLst>
            <pc:docMk/>
            <pc:sldMk cId="614875116" sldId="338"/>
            <ac:picMk id="3" creationId="{94F2D2BD-597A-C42E-158C-8ECBF46BF302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BC8743-1CC0-44E5-B855-3132A9BD37BD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pPr rtl="1"/>
          <a:endParaRPr lang="ar-SA"/>
        </a:p>
      </dgm:t>
    </dgm:pt>
    <dgm:pt modelId="{7E8181BB-BDFD-4D65-AFD4-1C21C5C1D3A9}">
      <dgm:prSet phldrT="[Text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pPr rtl="1"/>
          <a:r>
            <a:rPr lang="en-US" sz="1800" dirty="0"/>
            <a:t>Safety</a:t>
          </a:r>
          <a:r>
            <a:rPr lang="en-US" sz="1500" dirty="0"/>
            <a:t> </a:t>
          </a:r>
          <a:endParaRPr lang="ar-SA" sz="1500" dirty="0"/>
        </a:p>
      </dgm:t>
    </dgm:pt>
    <dgm:pt modelId="{FC114A2A-E66A-4748-B7C5-13D31C756A3C}" type="parTrans" cxnId="{A2324D2E-5409-4731-845D-ABA4BF75A939}">
      <dgm:prSet/>
      <dgm:spPr/>
      <dgm:t>
        <a:bodyPr/>
        <a:lstStyle/>
        <a:p>
          <a:pPr rtl="1"/>
          <a:endParaRPr lang="ar-SA"/>
        </a:p>
      </dgm:t>
    </dgm:pt>
    <dgm:pt modelId="{11471E87-0763-4FAB-8577-21469F3BD7CC}" type="sibTrans" cxnId="{A2324D2E-5409-4731-845D-ABA4BF75A939}">
      <dgm:prSet custT="1"/>
      <dgm:spPr>
        <a:solidFill>
          <a:srgbClr val="03A5B8"/>
        </a:solidFill>
      </dgm:spPr>
      <dgm:t>
        <a:bodyPr/>
        <a:lstStyle/>
        <a:p>
          <a:pPr rtl="1"/>
          <a:r>
            <a:rPr lang="en-US" sz="1800" dirty="0"/>
            <a:t>Equity</a:t>
          </a:r>
          <a:endParaRPr lang="ar-SA" sz="1800" dirty="0"/>
        </a:p>
      </dgm:t>
    </dgm:pt>
    <dgm:pt modelId="{CE8FE83F-BF67-4800-BE1D-D0F148A41E84}">
      <dgm:prSet phldrT="[Text]" phldr="1"/>
      <dgm:spPr/>
      <dgm:t>
        <a:bodyPr/>
        <a:lstStyle/>
        <a:p>
          <a:pPr rtl="0"/>
          <a:endParaRPr lang="ar-SA" dirty="0"/>
        </a:p>
      </dgm:t>
    </dgm:pt>
    <dgm:pt modelId="{0BE7B50C-3260-428E-8DF5-3A5693565427}" type="parTrans" cxnId="{22124E59-0FD4-4A2B-886A-5C88BF150688}">
      <dgm:prSet/>
      <dgm:spPr/>
      <dgm:t>
        <a:bodyPr/>
        <a:lstStyle/>
        <a:p>
          <a:pPr rtl="1"/>
          <a:endParaRPr lang="ar-SA"/>
        </a:p>
      </dgm:t>
    </dgm:pt>
    <dgm:pt modelId="{8FE3FBF6-4D62-4FFF-9205-4C7C4B471494}" type="sibTrans" cxnId="{22124E59-0FD4-4A2B-886A-5C88BF150688}">
      <dgm:prSet/>
      <dgm:spPr/>
      <dgm:t>
        <a:bodyPr/>
        <a:lstStyle/>
        <a:p>
          <a:pPr rtl="1"/>
          <a:endParaRPr lang="ar-SA"/>
        </a:p>
      </dgm:t>
    </dgm:pt>
    <dgm:pt modelId="{578FB799-B0A2-40E5-A259-8A7A8FC170C1}">
      <dgm:prSet phldrT="[Text]" custT="1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pPr rtl="1"/>
          <a:r>
            <a:rPr lang="en-US" sz="1600" dirty="0"/>
            <a:t>Time constrains</a:t>
          </a:r>
          <a:endParaRPr lang="ar-SA" sz="1600" dirty="0"/>
        </a:p>
      </dgm:t>
    </dgm:pt>
    <dgm:pt modelId="{F9E858F3-AE43-461B-94B7-3B0D5F98931A}" type="parTrans" cxnId="{46EDCBAD-5794-434E-B67E-777FD74F28EE}">
      <dgm:prSet/>
      <dgm:spPr/>
      <dgm:t>
        <a:bodyPr/>
        <a:lstStyle/>
        <a:p>
          <a:pPr rtl="1"/>
          <a:endParaRPr lang="ar-SA"/>
        </a:p>
      </dgm:t>
    </dgm:pt>
    <dgm:pt modelId="{84F941B9-C0AD-4DAF-A793-D97725137B2D}" type="sibTrans" cxnId="{46EDCBAD-5794-434E-B67E-777FD74F28EE}">
      <dgm:prSet custT="1"/>
      <dgm:spPr/>
      <dgm:t>
        <a:bodyPr/>
        <a:lstStyle/>
        <a:p>
          <a:pPr rtl="1"/>
          <a:r>
            <a:rPr lang="en-US" sz="1800" dirty="0"/>
            <a:t>Efficiency</a:t>
          </a:r>
          <a:r>
            <a:rPr lang="en-US" sz="1600" dirty="0"/>
            <a:t> </a:t>
          </a:r>
          <a:endParaRPr lang="ar-SA" sz="1600" dirty="0"/>
        </a:p>
      </dgm:t>
    </dgm:pt>
    <dgm:pt modelId="{4CF19497-37A0-401A-86AA-317D468AFA0D}">
      <dgm:prSet phldrT="[Text]" phldr="1"/>
      <dgm:spPr/>
      <dgm:t>
        <a:bodyPr/>
        <a:lstStyle/>
        <a:p>
          <a:pPr rtl="1"/>
          <a:endParaRPr lang="ar-SA" dirty="0"/>
        </a:p>
      </dgm:t>
    </dgm:pt>
    <dgm:pt modelId="{AF9FBF70-110D-4847-91DF-7D0C0BB10EC8}" type="parTrans" cxnId="{E1A803EC-828F-4848-A835-73D9EBB428A1}">
      <dgm:prSet/>
      <dgm:spPr/>
      <dgm:t>
        <a:bodyPr/>
        <a:lstStyle/>
        <a:p>
          <a:pPr rtl="1"/>
          <a:endParaRPr lang="ar-SA"/>
        </a:p>
      </dgm:t>
    </dgm:pt>
    <dgm:pt modelId="{01D35864-2E57-4B8C-ACD5-268509AA2DA5}" type="sibTrans" cxnId="{E1A803EC-828F-4848-A835-73D9EBB428A1}">
      <dgm:prSet/>
      <dgm:spPr/>
      <dgm:t>
        <a:bodyPr/>
        <a:lstStyle/>
        <a:p>
          <a:pPr rtl="1"/>
          <a:endParaRPr lang="ar-SA"/>
        </a:p>
      </dgm:t>
    </dgm:pt>
    <dgm:pt modelId="{8AB1DC19-60D9-434C-9E70-8A717BE38470}">
      <dgm:prSet phldrT="[Text]" custT="1"/>
      <dgm:spPr>
        <a:solidFill>
          <a:srgbClr val="03A5B8"/>
        </a:solidFill>
      </dgm:spPr>
      <dgm:t>
        <a:bodyPr/>
        <a:lstStyle/>
        <a:p>
          <a:pPr rtl="1"/>
          <a:r>
            <a:rPr lang="en-US" sz="1800" dirty="0"/>
            <a:t>Timeliness</a:t>
          </a:r>
          <a:r>
            <a:rPr lang="en-US" sz="1600" dirty="0"/>
            <a:t> </a:t>
          </a:r>
          <a:endParaRPr lang="ar-SA" sz="1600" dirty="0"/>
        </a:p>
      </dgm:t>
    </dgm:pt>
    <dgm:pt modelId="{F850EB6E-B324-44B9-9F3A-A881339D86D3}" type="parTrans" cxnId="{05324E40-2519-4BF3-9A6B-1815ABEC3B04}">
      <dgm:prSet/>
      <dgm:spPr/>
      <dgm:t>
        <a:bodyPr/>
        <a:lstStyle/>
        <a:p>
          <a:pPr rtl="1"/>
          <a:endParaRPr lang="ar-SA"/>
        </a:p>
      </dgm:t>
    </dgm:pt>
    <dgm:pt modelId="{9BA4989A-6732-4C4B-BD7B-880BE6BB9C41}" type="sibTrans" cxnId="{05324E40-2519-4BF3-9A6B-1815ABEC3B04}">
      <dgm:prSet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pPr rtl="1"/>
          <a:r>
            <a:rPr lang="en-US" sz="1800" dirty="0"/>
            <a:t>Patient centricity</a:t>
          </a:r>
          <a:endParaRPr lang="ar-SA" sz="1800" dirty="0"/>
        </a:p>
      </dgm:t>
    </dgm:pt>
    <dgm:pt modelId="{DECEDB18-EB84-40EF-BD1D-F6381B5A4ED2}">
      <dgm:prSet phldrT="[Text]" phldr="1"/>
      <dgm:spPr/>
      <dgm:t>
        <a:bodyPr/>
        <a:lstStyle/>
        <a:p>
          <a:pPr rtl="0"/>
          <a:endParaRPr lang="ar-SA" dirty="0"/>
        </a:p>
      </dgm:t>
    </dgm:pt>
    <dgm:pt modelId="{57E8FADA-DFBA-437D-AE67-84D5DD6D565E}" type="parTrans" cxnId="{4509FACD-2786-44A2-BF6C-209D76EE3D93}">
      <dgm:prSet/>
      <dgm:spPr/>
      <dgm:t>
        <a:bodyPr/>
        <a:lstStyle/>
        <a:p>
          <a:pPr rtl="1"/>
          <a:endParaRPr lang="ar-SA"/>
        </a:p>
      </dgm:t>
    </dgm:pt>
    <dgm:pt modelId="{7E07251C-E144-4B75-88F4-8AFAE73A06C5}" type="sibTrans" cxnId="{4509FACD-2786-44A2-BF6C-209D76EE3D93}">
      <dgm:prSet/>
      <dgm:spPr/>
      <dgm:t>
        <a:bodyPr/>
        <a:lstStyle/>
        <a:p>
          <a:pPr rtl="1"/>
          <a:endParaRPr lang="ar-SA"/>
        </a:p>
      </dgm:t>
    </dgm:pt>
    <dgm:pt modelId="{55B213E5-B347-43E7-B5A5-F3ED39F92B95}">
      <dgm:prSet phldrT="[Text]" custT="1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pPr rtl="1"/>
          <a:r>
            <a:rPr lang="en-US" sz="1800" dirty="0"/>
            <a:t>Effectiveness </a:t>
          </a:r>
          <a:endParaRPr lang="ar-SA" sz="1800" dirty="0"/>
        </a:p>
      </dgm:t>
    </dgm:pt>
    <dgm:pt modelId="{0D1C95DD-6003-4576-B4D4-2C217A26411B}" type="parTrans" cxnId="{F5BDE67E-8F3B-45F6-9009-35D5EE031994}">
      <dgm:prSet/>
      <dgm:spPr/>
      <dgm:t>
        <a:bodyPr/>
        <a:lstStyle/>
        <a:p>
          <a:pPr rtl="1"/>
          <a:endParaRPr lang="ar-SA"/>
        </a:p>
      </dgm:t>
    </dgm:pt>
    <dgm:pt modelId="{F4B819FD-0256-4C97-8A99-777133F77190}" type="sibTrans" cxnId="{F5BDE67E-8F3B-45F6-9009-35D5EE031994}">
      <dgm:prSet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pPr rtl="1"/>
          <a:r>
            <a:rPr lang="en-US" dirty="0"/>
            <a:t>people</a:t>
          </a:r>
          <a:endParaRPr lang="ar-SA" dirty="0"/>
        </a:p>
      </dgm:t>
    </dgm:pt>
    <dgm:pt modelId="{EF646B66-B0B0-446A-9C5A-643F0C98C891}" type="pres">
      <dgm:prSet presAssocID="{F7BC8743-1CC0-44E5-B855-3132A9BD37BD}" presName="Name0" presStyleCnt="0">
        <dgm:presLayoutVars>
          <dgm:chMax/>
          <dgm:chPref/>
          <dgm:dir/>
          <dgm:animLvl val="lvl"/>
        </dgm:presLayoutVars>
      </dgm:prSet>
      <dgm:spPr/>
    </dgm:pt>
    <dgm:pt modelId="{7459AC72-2E67-4FF5-9B2A-3A4CBFA82644}" type="pres">
      <dgm:prSet presAssocID="{7E8181BB-BDFD-4D65-AFD4-1C21C5C1D3A9}" presName="composite" presStyleCnt="0"/>
      <dgm:spPr/>
    </dgm:pt>
    <dgm:pt modelId="{F93FCEB7-FBEB-4887-A162-9F0CB36B58DE}" type="pres">
      <dgm:prSet presAssocID="{7E8181BB-BDFD-4D65-AFD4-1C21C5C1D3A9}" presName="Parent1" presStyleLbl="node1" presStyleIdx="0" presStyleCnt="8">
        <dgm:presLayoutVars>
          <dgm:chMax val="1"/>
          <dgm:chPref val="1"/>
          <dgm:bulletEnabled val="1"/>
        </dgm:presLayoutVars>
      </dgm:prSet>
      <dgm:spPr/>
    </dgm:pt>
    <dgm:pt modelId="{F8CE4B9C-A86E-414E-B4E4-EA15C918641D}" type="pres">
      <dgm:prSet presAssocID="{7E8181BB-BDFD-4D65-AFD4-1C21C5C1D3A9}" presName="Childtext1" presStyleLbl="revTx" presStyleIdx="0" presStyleCnt="4">
        <dgm:presLayoutVars>
          <dgm:chMax val="0"/>
          <dgm:chPref val="0"/>
          <dgm:bulletEnabled val="1"/>
        </dgm:presLayoutVars>
      </dgm:prSet>
      <dgm:spPr/>
    </dgm:pt>
    <dgm:pt modelId="{C1D4FC71-06C0-4BAD-A5E8-39FB613CD3CA}" type="pres">
      <dgm:prSet presAssocID="{7E8181BB-BDFD-4D65-AFD4-1C21C5C1D3A9}" presName="BalanceSpacing" presStyleCnt="0"/>
      <dgm:spPr/>
    </dgm:pt>
    <dgm:pt modelId="{87715DE5-2186-49A4-BEFE-F4B9B80BE8FA}" type="pres">
      <dgm:prSet presAssocID="{7E8181BB-BDFD-4D65-AFD4-1C21C5C1D3A9}" presName="BalanceSpacing1" presStyleCnt="0"/>
      <dgm:spPr/>
    </dgm:pt>
    <dgm:pt modelId="{FD662064-B566-4959-BC16-8CAAA701AFB6}" type="pres">
      <dgm:prSet presAssocID="{11471E87-0763-4FAB-8577-21469F3BD7CC}" presName="Accent1Text" presStyleLbl="node1" presStyleIdx="1" presStyleCnt="8"/>
      <dgm:spPr/>
    </dgm:pt>
    <dgm:pt modelId="{603CAFCA-4DD1-46F7-8303-776664F31669}" type="pres">
      <dgm:prSet presAssocID="{11471E87-0763-4FAB-8577-21469F3BD7CC}" presName="spaceBetweenRectangles" presStyleCnt="0"/>
      <dgm:spPr/>
    </dgm:pt>
    <dgm:pt modelId="{355AD7D4-59F1-4F7F-A62C-8CD2AEFF1C73}" type="pres">
      <dgm:prSet presAssocID="{578FB799-B0A2-40E5-A259-8A7A8FC170C1}" presName="composite" presStyleCnt="0"/>
      <dgm:spPr/>
    </dgm:pt>
    <dgm:pt modelId="{F457ABE6-BA41-41EE-A5AE-749DFBC2B2A3}" type="pres">
      <dgm:prSet presAssocID="{578FB799-B0A2-40E5-A259-8A7A8FC170C1}" presName="Parent1" presStyleLbl="node1" presStyleIdx="2" presStyleCnt="8">
        <dgm:presLayoutVars>
          <dgm:chMax val="1"/>
          <dgm:chPref val="1"/>
          <dgm:bulletEnabled val="1"/>
        </dgm:presLayoutVars>
      </dgm:prSet>
      <dgm:spPr/>
    </dgm:pt>
    <dgm:pt modelId="{14E7C234-8218-48F8-9D34-C939568DBC05}" type="pres">
      <dgm:prSet presAssocID="{578FB799-B0A2-40E5-A259-8A7A8FC170C1}" presName="Childtext1" presStyleLbl="revTx" presStyleIdx="1" presStyleCnt="4">
        <dgm:presLayoutVars>
          <dgm:chMax val="0"/>
          <dgm:chPref val="0"/>
          <dgm:bulletEnabled val="1"/>
        </dgm:presLayoutVars>
      </dgm:prSet>
      <dgm:spPr/>
    </dgm:pt>
    <dgm:pt modelId="{A37B09BF-A2D8-4CF7-ADE7-AEDEAAE9EBC3}" type="pres">
      <dgm:prSet presAssocID="{578FB799-B0A2-40E5-A259-8A7A8FC170C1}" presName="BalanceSpacing" presStyleCnt="0"/>
      <dgm:spPr/>
    </dgm:pt>
    <dgm:pt modelId="{12559F73-3ABB-4939-923E-FB3651619AD9}" type="pres">
      <dgm:prSet presAssocID="{578FB799-B0A2-40E5-A259-8A7A8FC170C1}" presName="BalanceSpacing1" presStyleCnt="0"/>
      <dgm:spPr/>
    </dgm:pt>
    <dgm:pt modelId="{819166A7-7599-4803-B3F7-E43447B5D6E2}" type="pres">
      <dgm:prSet presAssocID="{84F941B9-C0AD-4DAF-A793-D97725137B2D}" presName="Accent1Text" presStyleLbl="node1" presStyleIdx="3" presStyleCnt="8"/>
      <dgm:spPr/>
    </dgm:pt>
    <dgm:pt modelId="{A16BCD95-1AB4-4FEF-A8F8-1BE82F2078DD}" type="pres">
      <dgm:prSet presAssocID="{84F941B9-C0AD-4DAF-A793-D97725137B2D}" presName="spaceBetweenRectangles" presStyleCnt="0"/>
      <dgm:spPr/>
    </dgm:pt>
    <dgm:pt modelId="{9CE255FD-8C30-4BEB-A101-4F2C04A19E0E}" type="pres">
      <dgm:prSet presAssocID="{8AB1DC19-60D9-434C-9E70-8A717BE38470}" presName="composite" presStyleCnt="0"/>
      <dgm:spPr/>
    </dgm:pt>
    <dgm:pt modelId="{6159ABEA-9DB6-4149-B828-CA9282AD0727}" type="pres">
      <dgm:prSet presAssocID="{8AB1DC19-60D9-434C-9E70-8A717BE38470}" presName="Parent1" presStyleLbl="node1" presStyleIdx="4" presStyleCnt="8">
        <dgm:presLayoutVars>
          <dgm:chMax val="1"/>
          <dgm:chPref val="1"/>
          <dgm:bulletEnabled val="1"/>
        </dgm:presLayoutVars>
      </dgm:prSet>
      <dgm:spPr/>
    </dgm:pt>
    <dgm:pt modelId="{7BBD38ED-EF4E-49A8-97A5-EBA8663D208E}" type="pres">
      <dgm:prSet presAssocID="{8AB1DC19-60D9-434C-9E70-8A717BE38470}" presName="Childtext1" presStyleLbl="revTx" presStyleIdx="2" presStyleCnt="4">
        <dgm:presLayoutVars>
          <dgm:chMax val="0"/>
          <dgm:chPref val="0"/>
          <dgm:bulletEnabled val="1"/>
        </dgm:presLayoutVars>
      </dgm:prSet>
      <dgm:spPr/>
    </dgm:pt>
    <dgm:pt modelId="{8637DC66-DEA4-4E99-B1E6-9A758DF3C645}" type="pres">
      <dgm:prSet presAssocID="{8AB1DC19-60D9-434C-9E70-8A717BE38470}" presName="BalanceSpacing" presStyleCnt="0"/>
      <dgm:spPr/>
    </dgm:pt>
    <dgm:pt modelId="{290CBDFB-EE8D-4680-B45C-B57A59188031}" type="pres">
      <dgm:prSet presAssocID="{8AB1DC19-60D9-434C-9E70-8A717BE38470}" presName="BalanceSpacing1" presStyleCnt="0"/>
      <dgm:spPr/>
    </dgm:pt>
    <dgm:pt modelId="{92CA2C6D-75A4-438E-BCD7-2EBE4D4F6A1D}" type="pres">
      <dgm:prSet presAssocID="{9BA4989A-6732-4C4B-BD7B-880BE6BB9C41}" presName="Accent1Text" presStyleLbl="node1" presStyleIdx="5" presStyleCnt="8"/>
      <dgm:spPr/>
    </dgm:pt>
    <dgm:pt modelId="{7ABEE20C-9665-4545-9DC0-C188DE234B89}" type="pres">
      <dgm:prSet presAssocID="{9BA4989A-6732-4C4B-BD7B-880BE6BB9C41}" presName="spaceBetweenRectangles" presStyleCnt="0"/>
      <dgm:spPr/>
    </dgm:pt>
    <dgm:pt modelId="{78995F06-59C9-4E51-8C1E-8E9B7D9E42B2}" type="pres">
      <dgm:prSet presAssocID="{55B213E5-B347-43E7-B5A5-F3ED39F92B95}" presName="composite" presStyleCnt="0"/>
      <dgm:spPr/>
    </dgm:pt>
    <dgm:pt modelId="{4691741E-6504-4E69-9F48-807CD6048FEE}" type="pres">
      <dgm:prSet presAssocID="{55B213E5-B347-43E7-B5A5-F3ED39F92B95}" presName="Parent1" presStyleLbl="node1" presStyleIdx="6" presStyleCnt="8" custLinFactX="-11021" custLinFactY="-69703" custLinFactNeighborX="-100000" custLinFactNeighborY="-100000">
        <dgm:presLayoutVars>
          <dgm:chMax val="1"/>
          <dgm:chPref val="1"/>
          <dgm:bulletEnabled val="1"/>
        </dgm:presLayoutVars>
      </dgm:prSet>
      <dgm:spPr/>
    </dgm:pt>
    <dgm:pt modelId="{EDF528F3-E764-4469-87C1-0B02D6229F04}" type="pres">
      <dgm:prSet presAssocID="{55B213E5-B347-43E7-B5A5-F3ED39F92B95}" presName="Childtext1" presStyleLbl="revTx" presStyleIdx="3" presStyleCnt="4">
        <dgm:presLayoutVars>
          <dgm:chMax val="0"/>
          <dgm:chPref val="0"/>
          <dgm:bulletEnabled val="1"/>
        </dgm:presLayoutVars>
      </dgm:prSet>
      <dgm:spPr/>
    </dgm:pt>
    <dgm:pt modelId="{7EB3EA09-B86D-43F5-90CB-43CED20FAA31}" type="pres">
      <dgm:prSet presAssocID="{55B213E5-B347-43E7-B5A5-F3ED39F92B95}" presName="BalanceSpacing" presStyleCnt="0"/>
      <dgm:spPr/>
    </dgm:pt>
    <dgm:pt modelId="{061B5073-04B1-48A2-A505-DCED57057DB2}" type="pres">
      <dgm:prSet presAssocID="{55B213E5-B347-43E7-B5A5-F3ED39F92B95}" presName="BalanceSpacing1" presStyleCnt="0"/>
      <dgm:spPr/>
    </dgm:pt>
    <dgm:pt modelId="{DF6362B6-4310-40D3-9743-7D98A72423D5}" type="pres">
      <dgm:prSet presAssocID="{F4B819FD-0256-4C97-8A99-777133F77190}" presName="Accent1Text" presStyleLbl="node1" presStyleIdx="7" presStyleCnt="8" custLinFactX="-7831" custLinFactY="-68407" custLinFactNeighborX="-100000" custLinFactNeighborY="-100000"/>
      <dgm:spPr/>
    </dgm:pt>
  </dgm:ptLst>
  <dgm:cxnLst>
    <dgm:cxn modelId="{60E7DD13-17D3-413B-BA0B-0E9A1E8289D8}" type="presOf" srcId="{11471E87-0763-4FAB-8577-21469F3BD7CC}" destId="{FD662064-B566-4959-BC16-8CAAA701AFB6}" srcOrd="0" destOrd="0" presId="urn:microsoft.com/office/officeart/2008/layout/AlternatingHexagons"/>
    <dgm:cxn modelId="{48C09520-14AD-42A3-BC61-6CAD918DB6C0}" type="presOf" srcId="{CE8FE83F-BF67-4800-BE1D-D0F148A41E84}" destId="{F8CE4B9C-A86E-414E-B4E4-EA15C918641D}" srcOrd="0" destOrd="0" presId="urn:microsoft.com/office/officeart/2008/layout/AlternatingHexagons"/>
    <dgm:cxn modelId="{FD5FC425-B7A6-476E-82C6-2F5EAB009251}" type="presOf" srcId="{F4B819FD-0256-4C97-8A99-777133F77190}" destId="{DF6362B6-4310-40D3-9743-7D98A72423D5}" srcOrd="0" destOrd="0" presId="urn:microsoft.com/office/officeart/2008/layout/AlternatingHexagons"/>
    <dgm:cxn modelId="{A2324D2E-5409-4731-845D-ABA4BF75A939}" srcId="{F7BC8743-1CC0-44E5-B855-3132A9BD37BD}" destId="{7E8181BB-BDFD-4D65-AFD4-1C21C5C1D3A9}" srcOrd="0" destOrd="0" parTransId="{FC114A2A-E66A-4748-B7C5-13D31C756A3C}" sibTransId="{11471E87-0763-4FAB-8577-21469F3BD7CC}"/>
    <dgm:cxn modelId="{05324E40-2519-4BF3-9A6B-1815ABEC3B04}" srcId="{F7BC8743-1CC0-44E5-B855-3132A9BD37BD}" destId="{8AB1DC19-60D9-434C-9E70-8A717BE38470}" srcOrd="2" destOrd="0" parTransId="{F850EB6E-B324-44B9-9F3A-A881339D86D3}" sibTransId="{9BA4989A-6732-4C4B-BD7B-880BE6BB9C41}"/>
    <dgm:cxn modelId="{D5F7D641-3A76-490D-B442-10FB1B472EB4}" type="presOf" srcId="{7E8181BB-BDFD-4D65-AFD4-1C21C5C1D3A9}" destId="{F93FCEB7-FBEB-4887-A162-9F0CB36B58DE}" srcOrd="0" destOrd="0" presId="urn:microsoft.com/office/officeart/2008/layout/AlternatingHexagons"/>
    <dgm:cxn modelId="{22124E59-0FD4-4A2B-886A-5C88BF150688}" srcId="{7E8181BB-BDFD-4D65-AFD4-1C21C5C1D3A9}" destId="{CE8FE83F-BF67-4800-BE1D-D0F148A41E84}" srcOrd="0" destOrd="0" parTransId="{0BE7B50C-3260-428E-8DF5-3A5693565427}" sibTransId="{8FE3FBF6-4D62-4FFF-9205-4C7C4B471494}"/>
    <dgm:cxn modelId="{F5BDE67E-8F3B-45F6-9009-35D5EE031994}" srcId="{F7BC8743-1CC0-44E5-B855-3132A9BD37BD}" destId="{55B213E5-B347-43E7-B5A5-F3ED39F92B95}" srcOrd="3" destOrd="0" parTransId="{0D1C95DD-6003-4576-B4D4-2C217A26411B}" sibTransId="{F4B819FD-0256-4C97-8A99-777133F77190}"/>
    <dgm:cxn modelId="{F45DBF82-B514-4BA6-BD77-442FC8F8B3D2}" type="presOf" srcId="{55B213E5-B347-43E7-B5A5-F3ED39F92B95}" destId="{4691741E-6504-4E69-9F48-807CD6048FEE}" srcOrd="0" destOrd="0" presId="urn:microsoft.com/office/officeart/2008/layout/AlternatingHexagons"/>
    <dgm:cxn modelId="{C1A52B85-E8C7-42F7-BC77-0215474FE11F}" type="presOf" srcId="{8AB1DC19-60D9-434C-9E70-8A717BE38470}" destId="{6159ABEA-9DB6-4149-B828-CA9282AD0727}" srcOrd="0" destOrd="0" presId="urn:microsoft.com/office/officeart/2008/layout/AlternatingHexagons"/>
    <dgm:cxn modelId="{7781CC92-8C6D-4ACB-BAB8-F188427C2E14}" type="presOf" srcId="{578FB799-B0A2-40E5-A259-8A7A8FC170C1}" destId="{F457ABE6-BA41-41EE-A5AE-749DFBC2B2A3}" srcOrd="0" destOrd="0" presId="urn:microsoft.com/office/officeart/2008/layout/AlternatingHexagons"/>
    <dgm:cxn modelId="{32ABD093-803A-4A96-8E5B-DBE280BD05C2}" type="presOf" srcId="{84F941B9-C0AD-4DAF-A793-D97725137B2D}" destId="{819166A7-7599-4803-B3F7-E43447B5D6E2}" srcOrd="0" destOrd="0" presId="urn:microsoft.com/office/officeart/2008/layout/AlternatingHexagons"/>
    <dgm:cxn modelId="{BD40359A-B0DC-407F-B7EE-96BB531A79E9}" type="presOf" srcId="{F7BC8743-1CC0-44E5-B855-3132A9BD37BD}" destId="{EF646B66-B0B0-446A-9C5A-643F0C98C891}" srcOrd="0" destOrd="0" presId="urn:microsoft.com/office/officeart/2008/layout/AlternatingHexagons"/>
    <dgm:cxn modelId="{46EDCBAD-5794-434E-B67E-777FD74F28EE}" srcId="{F7BC8743-1CC0-44E5-B855-3132A9BD37BD}" destId="{578FB799-B0A2-40E5-A259-8A7A8FC170C1}" srcOrd="1" destOrd="0" parTransId="{F9E858F3-AE43-461B-94B7-3B0D5F98931A}" sibTransId="{84F941B9-C0AD-4DAF-A793-D97725137B2D}"/>
    <dgm:cxn modelId="{EB494DC1-C7EF-4ACC-9B86-954B5E1F6C5D}" type="presOf" srcId="{9BA4989A-6732-4C4B-BD7B-880BE6BB9C41}" destId="{92CA2C6D-75A4-438E-BCD7-2EBE4D4F6A1D}" srcOrd="0" destOrd="0" presId="urn:microsoft.com/office/officeart/2008/layout/AlternatingHexagons"/>
    <dgm:cxn modelId="{4509FACD-2786-44A2-BF6C-209D76EE3D93}" srcId="{8AB1DC19-60D9-434C-9E70-8A717BE38470}" destId="{DECEDB18-EB84-40EF-BD1D-F6381B5A4ED2}" srcOrd="0" destOrd="0" parTransId="{57E8FADA-DFBA-437D-AE67-84D5DD6D565E}" sibTransId="{7E07251C-E144-4B75-88F4-8AFAE73A06C5}"/>
    <dgm:cxn modelId="{3071A0E1-8A77-4DD0-9F5C-9C2B3826C98A}" type="presOf" srcId="{DECEDB18-EB84-40EF-BD1D-F6381B5A4ED2}" destId="{7BBD38ED-EF4E-49A8-97A5-EBA8663D208E}" srcOrd="0" destOrd="0" presId="urn:microsoft.com/office/officeart/2008/layout/AlternatingHexagons"/>
    <dgm:cxn modelId="{2F8EDBE4-E6B7-4824-A07C-BAA50DDD72D9}" type="presOf" srcId="{4CF19497-37A0-401A-86AA-317D468AFA0D}" destId="{14E7C234-8218-48F8-9D34-C939568DBC05}" srcOrd="0" destOrd="0" presId="urn:microsoft.com/office/officeart/2008/layout/AlternatingHexagons"/>
    <dgm:cxn modelId="{E1A803EC-828F-4848-A835-73D9EBB428A1}" srcId="{578FB799-B0A2-40E5-A259-8A7A8FC170C1}" destId="{4CF19497-37A0-401A-86AA-317D468AFA0D}" srcOrd="0" destOrd="0" parTransId="{AF9FBF70-110D-4847-91DF-7D0C0BB10EC8}" sibTransId="{01D35864-2E57-4B8C-ACD5-268509AA2DA5}"/>
    <dgm:cxn modelId="{92527BB9-11DC-437F-B213-76E0C7E4D171}" type="presParOf" srcId="{EF646B66-B0B0-446A-9C5A-643F0C98C891}" destId="{7459AC72-2E67-4FF5-9B2A-3A4CBFA82644}" srcOrd="0" destOrd="0" presId="urn:microsoft.com/office/officeart/2008/layout/AlternatingHexagons"/>
    <dgm:cxn modelId="{B2F50FE3-E345-4705-9C1F-D5DC3A741C7F}" type="presParOf" srcId="{7459AC72-2E67-4FF5-9B2A-3A4CBFA82644}" destId="{F93FCEB7-FBEB-4887-A162-9F0CB36B58DE}" srcOrd="0" destOrd="0" presId="urn:microsoft.com/office/officeart/2008/layout/AlternatingHexagons"/>
    <dgm:cxn modelId="{9FF72B7F-5C35-433E-A475-BE69AF8918EF}" type="presParOf" srcId="{7459AC72-2E67-4FF5-9B2A-3A4CBFA82644}" destId="{F8CE4B9C-A86E-414E-B4E4-EA15C918641D}" srcOrd="1" destOrd="0" presId="urn:microsoft.com/office/officeart/2008/layout/AlternatingHexagons"/>
    <dgm:cxn modelId="{C91A011B-6FA0-4E52-845E-5336C64E8341}" type="presParOf" srcId="{7459AC72-2E67-4FF5-9B2A-3A4CBFA82644}" destId="{C1D4FC71-06C0-4BAD-A5E8-39FB613CD3CA}" srcOrd="2" destOrd="0" presId="urn:microsoft.com/office/officeart/2008/layout/AlternatingHexagons"/>
    <dgm:cxn modelId="{A4771108-3072-470E-9AFB-54B2D3407E29}" type="presParOf" srcId="{7459AC72-2E67-4FF5-9B2A-3A4CBFA82644}" destId="{87715DE5-2186-49A4-BEFE-F4B9B80BE8FA}" srcOrd="3" destOrd="0" presId="urn:microsoft.com/office/officeart/2008/layout/AlternatingHexagons"/>
    <dgm:cxn modelId="{43A2DD1F-38E6-4627-A160-65A09BE5041B}" type="presParOf" srcId="{7459AC72-2E67-4FF5-9B2A-3A4CBFA82644}" destId="{FD662064-B566-4959-BC16-8CAAA701AFB6}" srcOrd="4" destOrd="0" presId="urn:microsoft.com/office/officeart/2008/layout/AlternatingHexagons"/>
    <dgm:cxn modelId="{54726F51-290E-4A67-BB47-660C54224791}" type="presParOf" srcId="{EF646B66-B0B0-446A-9C5A-643F0C98C891}" destId="{603CAFCA-4DD1-46F7-8303-776664F31669}" srcOrd="1" destOrd="0" presId="urn:microsoft.com/office/officeart/2008/layout/AlternatingHexagons"/>
    <dgm:cxn modelId="{829D6E0C-C8B9-46DC-9E23-C7680E0670DC}" type="presParOf" srcId="{EF646B66-B0B0-446A-9C5A-643F0C98C891}" destId="{355AD7D4-59F1-4F7F-A62C-8CD2AEFF1C73}" srcOrd="2" destOrd="0" presId="urn:microsoft.com/office/officeart/2008/layout/AlternatingHexagons"/>
    <dgm:cxn modelId="{1691CF72-CB2E-4E11-9184-FFD0828A2636}" type="presParOf" srcId="{355AD7D4-59F1-4F7F-A62C-8CD2AEFF1C73}" destId="{F457ABE6-BA41-41EE-A5AE-749DFBC2B2A3}" srcOrd="0" destOrd="0" presId="urn:microsoft.com/office/officeart/2008/layout/AlternatingHexagons"/>
    <dgm:cxn modelId="{3E5B016C-799B-4F2D-9E66-16B5E49B9FEC}" type="presParOf" srcId="{355AD7D4-59F1-4F7F-A62C-8CD2AEFF1C73}" destId="{14E7C234-8218-48F8-9D34-C939568DBC05}" srcOrd="1" destOrd="0" presId="urn:microsoft.com/office/officeart/2008/layout/AlternatingHexagons"/>
    <dgm:cxn modelId="{48D81587-29F4-4362-B720-3A3507B8F1F4}" type="presParOf" srcId="{355AD7D4-59F1-4F7F-A62C-8CD2AEFF1C73}" destId="{A37B09BF-A2D8-4CF7-ADE7-AEDEAAE9EBC3}" srcOrd="2" destOrd="0" presId="urn:microsoft.com/office/officeart/2008/layout/AlternatingHexagons"/>
    <dgm:cxn modelId="{BE2BBBBF-77EB-4C20-AE24-A01C5E52F843}" type="presParOf" srcId="{355AD7D4-59F1-4F7F-A62C-8CD2AEFF1C73}" destId="{12559F73-3ABB-4939-923E-FB3651619AD9}" srcOrd="3" destOrd="0" presId="urn:microsoft.com/office/officeart/2008/layout/AlternatingHexagons"/>
    <dgm:cxn modelId="{90476490-0F06-474F-8B38-E3B6BA64CCB3}" type="presParOf" srcId="{355AD7D4-59F1-4F7F-A62C-8CD2AEFF1C73}" destId="{819166A7-7599-4803-B3F7-E43447B5D6E2}" srcOrd="4" destOrd="0" presId="urn:microsoft.com/office/officeart/2008/layout/AlternatingHexagons"/>
    <dgm:cxn modelId="{D3CABC66-DE12-4444-A12D-ED76560BCEC0}" type="presParOf" srcId="{EF646B66-B0B0-446A-9C5A-643F0C98C891}" destId="{A16BCD95-1AB4-4FEF-A8F8-1BE82F2078DD}" srcOrd="3" destOrd="0" presId="urn:microsoft.com/office/officeart/2008/layout/AlternatingHexagons"/>
    <dgm:cxn modelId="{168A7582-A38E-4201-A955-9B6E8B1F954B}" type="presParOf" srcId="{EF646B66-B0B0-446A-9C5A-643F0C98C891}" destId="{9CE255FD-8C30-4BEB-A101-4F2C04A19E0E}" srcOrd="4" destOrd="0" presId="urn:microsoft.com/office/officeart/2008/layout/AlternatingHexagons"/>
    <dgm:cxn modelId="{09485E3E-7519-47F5-8310-F89C51CCE341}" type="presParOf" srcId="{9CE255FD-8C30-4BEB-A101-4F2C04A19E0E}" destId="{6159ABEA-9DB6-4149-B828-CA9282AD0727}" srcOrd="0" destOrd="0" presId="urn:microsoft.com/office/officeart/2008/layout/AlternatingHexagons"/>
    <dgm:cxn modelId="{964F1644-49C4-416E-B837-BBA27478499C}" type="presParOf" srcId="{9CE255FD-8C30-4BEB-A101-4F2C04A19E0E}" destId="{7BBD38ED-EF4E-49A8-97A5-EBA8663D208E}" srcOrd="1" destOrd="0" presId="urn:microsoft.com/office/officeart/2008/layout/AlternatingHexagons"/>
    <dgm:cxn modelId="{0FCFFB84-298E-47DE-AE4F-796DE0640947}" type="presParOf" srcId="{9CE255FD-8C30-4BEB-A101-4F2C04A19E0E}" destId="{8637DC66-DEA4-4E99-B1E6-9A758DF3C645}" srcOrd="2" destOrd="0" presId="urn:microsoft.com/office/officeart/2008/layout/AlternatingHexagons"/>
    <dgm:cxn modelId="{A24CF5A6-4910-4DD0-A50A-8CBB62A81DF1}" type="presParOf" srcId="{9CE255FD-8C30-4BEB-A101-4F2C04A19E0E}" destId="{290CBDFB-EE8D-4680-B45C-B57A59188031}" srcOrd="3" destOrd="0" presId="urn:microsoft.com/office/officeart/2008/layout/AlternatingHexagons"/>
    <dgm:cxn modelId="{20EA929E-AF4F-4203-AD1D-8AA839A95913}" type="presParOf" srcId="{9CE255FD-8C30-4BEB-A101-4F2C04A19E0E}" destId="{92CA2C6D-75A4-438E-BCD7-2EBE4D4F6A1D}" srcOrd="4" destOrd="0" presId="urn:microsoft.com/office/officeart/2008/layout/AlternatingHexagons"/>
    <dgm:cxn modelId="{5541CA43-36E7-4F07-AE93-6E03595AFB82}" type="presParOf" srcId="{EF646B66-B0B0-446A-9C5A-643F0C98C891}" destId="{7ABEE20C-9665-4545-9DC0-C188DE234B89}" srcOrd="5" destOrd="0" presId="urn:microsoft.com/office/officeart/2008/layout/AlternatingHexagons"/>
    <dgm:cxn modelId="{F18191C3-C77E-42D8-82E9-3B790A7A2B80}" type="presParOf" srcId="{EF646B66-B0B0-446A-9C5A-643F0C98C891}" destId="{78995F06-59C9-4E51-8C1E-8E9B7D9E42B2}" srcOrd="6" destOrd="0" presId="urn:microsoft.com/office/officeart/2008/layout/AlternatingHexagons"/>
    <dgm:cxn modelId="{4CA21E94-5DEC-4190-9F7E-5B56453ECD60}" type="presParOf" srcId="{78995F06-59C9-4E51-8C1E-8E9B7D9E42B2}" destId="{4691741E-6504-4E69-9F48-807CD6048FEE}" srcOrd="0" destOrd="0" presId="urn:microsoft.com/office/officeart/2008/layout/AlternatingHexagons"/>
    <dgm:cxn modelId="{9D8059B8-3C6C-4589-80CE-4FD8E7D2BA5E}" type="presParOf" srcId="{78995F06-59C9-4E51-8C1E-8E9B7D9E42B2}" destId="{EDF528F3-E764-4469-87C1-0B02D6229F04}" srcOrd="1" destOrd="0" presId="urn:microsoft.com/office/officeart/2008/layout/AlternatingHexagons"/>
    <dgm:cxn modelId="{F83195F7-EDAB-48AF-8F08-295522307D1C}" type="presParOf" srcId="{78995F06-59C9-4E51-8C1E-8E9B7D9E42B2}" destId="{7EB3EA09-B86D-43F5-90CB-43CED20FAA31}" srcOrd="2" destOrd="0" presId="urn:microsoft.com/office/officeart/2008/layout/AlternatingHexagons"/>
    <dgm:cxn modelId="{8C8DF198-69F0-4E17-8D68-EB38364A78BC}" type="presParOf" srcId="{78995F06-59C9-4E51-8C1E-8E9B7D9E42B2}" destId="{061B5073-04B1-48A2-A505-DCED57057DB2}" srcOrd="3" destOrd="0" presId="urn:microsoft.com/office/officeart/2008/layout/AlternatingHexagons"/>
    <dgm:cxn modelId="{F260A899-F220-4E03-87BE-653199485239}" type="presParOf" srcId="{78995F06-59C9-4E51-8C1E-8E9B7D9E42B2}" destId="{DF6362B6-4310-40D3-9743-7D98A72423D5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7BC8743-1CC0-44E5-B855-3132A9BD37BD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pPr rtl="1"/>
          <a:endParaRPr lang="ar-SA"/>
        </a:p>
      </dgm:t>
    </dgm:pt>
    <dgm:pt modelId="{7E8181BB-BDFD-4D65-AFD4-1C21C5C1D3A9}">
      <dgm:prSet phldrT="[Text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pPr rtl="1"/>
          <a:r>
            <a:rPr lang="en-US" sz="1500" dirty="0"/>
            <a:t>Fragmented delivery of care</a:t>
          </a:r>
          <a:endParaRPr lang="ar-SA" sz="1500" dirty="0"/>
        </a:p>
      </dgm:t>
    </dgm:pt>
    <dgm:pt modelId="{FC114A2A-E66A-4748-B7C5-13D31C756A3C}" type="parTrans" cxnId="{A2324D2E-5409-4731-845D-ABA4BF75A939}">
      <dgm:prSet/>
      <dgm:spPr/>
      <dgm:t>
        <a:bodyPr/>
        <a:lstStyle/>
        <a:p>
          <a:pPr rtl="1"/>
          <a:endParaRPr lang="ar-SA"/>
        </a:p>
      </dgm:t>
    </dgm:pt>
    <dgm:pt modelId="{11471E87-0763-4FAB-8577-21469F3BD7CC}" type="sibTrans" cxnId="{A2324D2E-5409-4731-845D-ABA4BF75A939}">
      <dgm:prSet/>
      <dgm:spPr>
        <a:solidFill>
          <a:srgbClr val="03A5B8"/>
        </a:solidFill>
      </dgm:spPr>
      <dgm:t>
        <a:bodyPr/>
        <a:lstStyle/>
        <a:p>
          <a:pPr rtl="1"/>
          <a:r>
            <a:rPr lang="en-US" dirty="0"/>
            <a:t>Multifaceted healthcare system</a:t>
          </a:r>
          <a:endParaRPr lang="ar-SA" dirty="0"/>
        </a:p>
      </dgm:t>
    </dgm:pt>
    <dgm:pt modelId="{CE8FE83F-BF67-4800-BE1D-D0F148A41E84}">
      <dgm:prSet phldrT="[Text]" phldr="1"/>
      <dgm:spPr/>
      <dgm:t>
        <a:bodyPr/>
        <a:lstStyle/>
        <a:p>
          <a:pPr rtl="1"/>
          <a:endParaRPr lang="ar-SA"/>
        </a:p>
      </dgm:t>
    </dgm:pt>
    <dgm:pt modelId="{0BE7B50C-3260-428E-8DF5-3A5693565427}" type="parTrans" cxnId="{22124E59-0FD4-4A2B-886A-5C88BF150688}">
      <dgm:prSet/>
      <dgm:spPr/>
      <dgm:t>
        <a:bodyPr/>
        <a:lstStyle/>
        <a:p>
          <a:pPr rtl="1"/>
          <a:endParaRPr lang="ar-SA"/>
        </a:p>
      </dgm:t>
    </dgm:pt>
    <dgm:pt modelId="{8FE3FBF6-4D62-4FFF-9205-4C7C4B471494}" type="sibTrans" cxnId="{22124E59-0FD4-4A2B-886A-5C88BF150688}">
      <dgm:prSet/>
      <dgm:spPr/>
      <dgm:t>
        <a:bodyPr/>
        <a:lstStyle/>
        <a:p>
          <a:pPr rtl="1"/>
          <a:endParaRPr lang="ar-SA"/>
        </a:p>
      </dgm:t>
    </dgm:pt>
    <dgm:pt modelId="{578FB799-B0A2-40E5-A259-8A7A8FC170C1}">
      <dgm:prSet phldrT="[Text]" custT="1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pPr rtl="1"/>
          <a:r>
            <a:rPr lang="en-US" sz="1600" dirty="0"/>
            <a:t>Time constrains</a:t>
          </a:r>
          <a:endParaRPr lang="ar-SA" sz="1600" dirty="0"/>
        </a:p>
      </dgm:t>
    </dgm:pt>
    <dgm:pt modelId="{F9E858F3-AE43-461B-94B7-3B0D5F98931A}" type="parTrans" cxnId="{46EDCBAD-5794-434E-B67E-777FD74F28EE}">
      <dgm:prSet/>
      <dgm:spPr/>
      <dgm:t>
        <a:bodyPr/>
        <a:lstStyle/>
        <a:p>
          <a:pPr rtl="1"/>
          <a:endParaRPr lang="ar-SA"/>
        </a:p>
      </dgm:t>
    </dgm:pt>
    <dgm:pt modelId="{84F941B9-C0AD-4DAF-A793-D97725137B2D}" type="sibTrans" cxnId="{46EDCBAD-5794-434E-B67E-777FD74F28EE}">
      <dgm:prSet custT="1"/>
      <dgm:spPr/>
      <dgm:t>
        <a:bodyPr/>
        <a:lstStyle/>
        <a:p>
          <a:pPr rtl="1"/>
          <a:r>
            <a:rPr lang="en-US" sz="1600" dirty="0"/>
            <a:t>Political buy in </a:t>
          </a:r>
          <a:endParaRPr lang="ar-SA" sz="1600" dirty="0"/>
        </a:p>
      </dgm:t>
    </dgm:pt>
    <dgm:pt modelId="{4CF19497-37A0-401A-86AA-317D468AFA0D}">
      <dgm:prSet phldrT="[Text]" phldr="1"/>
      <dgm:spPr/>
      <dgm:t>
        <a:bodyPr/>
        <a:lstStyle/>
        <a:p>
          <a:pPr rtl="1"/>
          <a:endParaRPr lang="ar-SA" dirty="0"/>
        </a:p>
      </dgm:t>
    </dgm:pt>
    <dgm:pt modelId="{AF9FBF70-110D-4847-91DF-7D0C0BB10EC8}" type="parTrans" cxnId="{E1A803EC-828F-4848-A835-73D9EBB428A1}">
      <dgm:prSet/>
      <dgm:spPr/>
      <dgm:t>
        <a:bodyPr/>
        <a:lstStyle/>
        <a:p>
          <a:pPr rtl="1"/>
          <a:endParaRPr lang="ar-SA"/>
        </a:p>
      </dgm:t>
    </dgm:pt>
    <dgm:pt modelId="{01D35864-2E57-4B8C-ACD5-268509AA2DA5}" type="sibTrans" cxnId="{E1A803EC-828F-4848-A835-73D9EBB428A1}">
      <dgm:prSet/>
      <dgm:spPr/>
      <dgm:t>
        <a:bodyPr/>
        <a:lstStyle/>
        <a:p>
          <a:pPr rtl="1"/>
          <a:endParaRPr lang="ar-SA"/>
        </a:p>
      </dgm:t>
    </dgm:pt>
    <dgm:pt modelId="{8AB1DC19-60D9-434C-9E70-8A717BE38470}">
      <dgm:prSet phldrT="[Text]" custT="1"/>
      <dgm:spPr>
        <a:solidFill>
          <a:srgbClr val="03A5B8"/>
        </a:solidFill>
      </dgm:spPr>
      <dgm:t>
        <a:bodyPr/>
        <a:lstStyle/>
        <a:p>
          <a:pPr rtl="1"/>
          <a:r>
            <a:rPr lang="en-US" sz="1600" dirty="0"/>
            <a:t>Limited resources</a:t>
          </a:r>
          <a:endParaRPr lang="ar-SA" sz="1600" dirty="0"/>
        </a:p>
      </dgm:t>
    </dgm:pt>
    <dgm:pt modelId="{F850EB6E-B324-44B9-9F3A-A881339D86D3}" type="parTrans" cxnId="{05324E40-2519-4BF3-9A6B-1815ABEC3B04}">
      <dgm:prSet/>
      <dgm:spPr/>
      <dgm:t>
        <a:bodyPr/>
        <a:lstStyle/>
        <a:p>
          <a:pPr rtl="1"/>
          <a:endParaRPr lang="ar-SA"/>
        </a:p>
      </dgm:t>
    </dgm:pt>
    <dgm:pt modelId="{9BA4989A-6732-4C4B-BD7B-880BE6BB9C41}" type="sibTrans" cxnId="{05324E40-2519-4BF3-9A6B-1815ABEC3B04}">
      <dgm:prSet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pPr rtl="1"/>
          <a:r>
            <a:rPr lang="en-US" dirty="0"/>
            <a:t>Policy and regulatory environment</a:t>
          </a:r>
          <a:endParaRPr lang="ar-SA" dirty="0"/>
        </a:p>
      </dgm:t>
    </dgm:pt>
    <dgm:pt modelId="{DECEDB18-EB84-40EF-BD1D-F6381B5A4ED2}">
      <dgm:prSet phldrT="[Text]" phldr="1"/>
      <dgm:spPr/>
      <dgm:t>
        <a:bodyPr/>
        <a:lstStyle/>
        <a:p>
          <a:pPr rtl="1"/>
          <a:endParaRPr lang="ar-SA"/>
        </a:p>
      </dgm:t>
    </dgm:pt>
    <dgm:pt modelId="{57E8FADA-DFBA-437D-AE67-84D5DD6D565E}" type="parTrans" cxnId="{4509FACD-2786-44A2-BF6C-209D76EE3D93}">
      <dgm:prSet/>
      <dgm:spPr/>
      <dgm:t>
        <a:bodyPr/>
        <a:lstStyle/>
        <a:p>
          <a:pPr rtl="1"/>
          <a:endParaRPr lang="ar-SA"/>
        </a:p>
      </dgm:t>
    </dgm:pt>
    <dgm:pt modelId="{7E07251C-E144-4B75-88F4-8AFAE73A06C5}" type="sibTrans" cxnId="{4509FACD-2786-44A2-BF6C-209D76EE3D93}">
      <dgm:prSet/>
      <dgm:spPr/>
      <dgm:t>
        <a:bodyPr/>
        <a:lstStyle/>
        <a:p>
          <a:pPr rtl="1"/>
          <a:endParaRPr lang="ar-SA"/>
        </a:p>
      </dgm:t>
    </dgm:pt>
    <dgm:pt modelId="{55B213E5-B347-43E7-B5A5-F3ED39F92B95}">
      <dgm:prSet phldrT="[Text]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pPr rtl="1"/>
          <a:r>
            <a:rPr lang="en-US" dirty="0"/>
            <a:t>Increasing patient complexity</a:t>
          </a:r>
          <a:endParaRPr lang="ar-SA" dirty="0"/>
        </a:p>
      </dgm:t>
    </dgm:pt>
    <dgm:pt modelId="{0D1C95DD-6003-4576-B4D4-2C217A26411B}" type="parTrans" cxnId="{F5BDE67E-8F3B-45F6-9009-35D5EE031994}">
      <dgm:prSet/>
      <dgm:spPr/>
      <dgm:t>
        <a:bodyPr/>
        <a:lstStyle/>
        <a:p>
          <a:pPr rtl="1"/>
          <a:endParaRPr lang="ar-SA"/>
        </a:p>
      </dgm:t>
    </dgm:pt>
    <dgm:pt modelId="{F4B819FD-0256-4C97-8A99-777133F77190}" type="sibTrans" cxnId="{F5BDE67E-8F3B-45F6-9009-35D5EE031994}">
      <dgm:prSet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pPr rtl="1"/>
          <a:r>
            <a:rPr lang="en-US" dirty="0"/>
            <a:t>Social determinants</a:t>
          </a:r>
          <a:endParaRPr lang="ar-SA" dirty="0"/>
        </a:p>
      </dgm:t>
    </dgm:pt>
    <dgm:pt modelId="{D7D21A88-0981-4C42-AA96-0EF6CE278A72}">
      <dgm:prSet phldrT="[Text]" custT="1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pPr rtl="1"/>
          <a:r>
            <a:rPr lang="en-US" sz="1500" dirty="0"/>
            <a:t>Data </a:t>
          </a:r>
          <a:r>
            <a:rPr lang="en-US" sz="1400" dirty="0"/>
            <a:t>management </a:t>
          </a:r>
          <a:r>
            <a:rPr lang="en-US" sz="1500" dirty="0"/>
            <a:t>and analytics</a:t>
          </a:r>
          <a:endParaRPr lang="ar-SA" sz="1500" dirty="0"/>
        </a:p>
      </dgm:t>
    </dgm:pt>
    <dgm:pt modelId="{3278D294-D1C6-4657-AEC2-699E42F6C48B}" type="parTrans" cxnId="{F9204E0B-6C0F-4EBD-937E-BDBE198227E8}">
      <dgm:prSet/>
      <dgm:spPr/>
      <dgm:t>
        <a:bodyPr/>
        <a:lstStyle/>
        <a:p>
          <a:pPr rtl="1"/>
          <a:endParaRPr lang="ar-SA"/>
        </a:p>
      </dgm:t>
    </dgm:pt>
    <dgm:pt modelId="{15A9DFAB-8ACC-44B6-8E4A-664E0CB44C26}" type="sibTrans" cxnId="{F9204E0B-6C0F-4EBD-937E-BDBE198227E8}">
      <dgm:prSet custT="1"/>
      <dgm:spPr>
        <a:solidFill>
          <a:srgbClr val="03A5B8"/>
        </a:solidFill>
      </dgm:spPr>
      <dgm:t>
        <a:bodyPr/>
        <a:lstStyle/>
        <a:p>
          <a:pPr rtl="1"/>
          <a:r>
            <a:rPr lang="en-US" sz="1600" dirty="0"/>
            <a:t>Changing healthcare landscape</a:t>
          </a:r>
          <a:endParaRPr lang="ar-SA" sz="1600" dirty="0"/>
        </a:p>
      </dgm:t>
    </dgm:pt>
    <dgm:pt modelId="{EF646B66-B0B0-446A-9C5A-643F0C98C891}" type="pres">
      <dgm:prSet presAssocID="{F7BC8743-1CC0-44E5-B855-3132A9BD37BD}" presName="Name0" presStyleCnt="0">
        <dgm:presLayoutVars>
          <dgm:chMax/>
          <dgm:chPref/>
          <dgm:dir/>
          <dgm:animLvl val="lvl"/>
        </dgm:presLayoutVars>
      </dgm:prSet>
      <dgm:spPr/>
    </dgm:pt>
    <dgm:pt modelId="{7459AC72-2E67-4FF5-9B2A-3A4CBFA82644}" type="pres">
      <dgm:prSet presAssocID="{7E8181BB-BDFD-4D65-AFD4-1C21C5C1D3A9}" presName="composite" presStyleCnt="0"/>
      <dgm:spPr/>
    </dgm:pt>
    <dgm:pt modelId="{F93FCEB7-FBEB-4887-A162-9F0CB36B58DE}" type="pres">
      <dgm:prSet presAssocID="{7E8181BB-BDFD-4D65-AFD4-1C21C5C1D3A9}" presName="Parent1" presStyleLbl="node1" presStyleIdx="0" presStyleCnt="10">
        <dgm:presLayoutVars>
          <dgm:chMax val="1"/>
          <dgm:chPref val="1"/>
          <dgm:bulletEnabled val="1"/>
        </dgm:presLayoutVars>
      </dgm:prSet>
      <dgm:spPr/>
    </dgm:pt>
    <dgm:pt modelId="{F8CE4B9C-A86E-414E-B4E4-EA15C918641D}" type="pres">
      <dgm:prSet presAssocID="{7E8181BB-BDFD-4D65-AFD4-1C21C5C1D3A9}" presName="Childtext1" presStyleLbl="revTx" presStyleIdx="0" presStyleCnt="5">
        <dgm:presLayoutVars>
          <dgm:chMax val="0"/>
          <dgm:chPref val="0"/>
          <dgm:bulletEnabled val="1"/>
        </dgm:presLayoutVars>
      </dgm:prSet>
      <dgm:spPr/>
    </dgm:pt>
    <dgm:pt modelId="{C1D4FC71-06C0-4BAD-A5E8-39FB613CD3CA}" type="pres">
      <dgm:prSet presAssocID="{7E8181BB-BDFD-4D65-AFD4-1C21C5C1D3A9}" presName="BalanceSpacing" presStyleCnt="0"/>
      <dgm:spPr/>
    </dgm:pt>
    <dgm:pt modelId="{87715DE5-2186-49A4-BEFE-F4B9B80BE8FA}" type="pres">
      <dgm:prSet presAssocID="{7E8181BB-BDFD-4D65-AFD4-1C21C5C1D3A9}" presName="BalanceSpacing1" presStyleCnt="0"/>
      <dgm:spPr/>
    </dgm:pt>
    <dgm:pt modelId="{FD662064-B566-4959-BC16-8CAAA701AFB6}" type="pres">
      <dgm:prSet presAssocID="{11471E87-0763-4FAB-8577-21469F3BD7CC}" presName="Accent1Text" presStyleLbl="node1" presStyleIdx="1" presStyleCnt="10"/>
      <dgm:spPr/>
    </dgm:pt>
    <dgm:pt modelId="{603CAFCA-4DD1-46F7-8303-776664F31669}" type="pres">
      <dgm:prSet presAssocID="{11471E87-0763-4FAB-8577-21469F3BD7CC}" presName="spaceBetweenRectangles" presStyleCnt="0"/>
      <dgm:spPr/>
    </dgm:pt>
    <dgm:pt modelId="{355AD7D4-59F1-4F7F-A62C-8CD2AEFF1C73}" type="pres">
      <dgm:prSet presAssocID="{578FB799-B0A2-40E5-A259-8A7A8FC170C1}" presName="composite" presStyleCnt="0"/>
      <dgm:spPr/>
    </dgm:pt>
    <dgm:pt modelId="{F457ABE6-BA41-41EE-A5AE-749DFBC2B2A3}" type="pres">
      <dgm:prSet presAssocID="{578FB799-B0A2-40E5-A259-8A7A8FC170C1}" presName="Parent1" presStyleLbl="node1" presStyleIdx="2" presStyleCnt="10">
        <dgm:presLayoutVars>
          <dgm:chMax val="1"/>
          <dgm:chPref val="1"/>
          <dgm:bulletEnabled val="1"/>
        </dgm:presLayoutVars>
      </dgm:prSet>
      <dgm:spPr/>
    </dgm:pt>
    <dgm:pt modelId="{14E7C234-8218-48F8-9D34-C939568DBC05}" type="pres">
      <dgm:prSet presAssocID="{578FB799-B0A2-40E5-A259-8A7A8FC170C1}" presName="Childtext1" presStyleLbl="revTx" presStyleIdx="1" presStyleCnt="5">
        <dgm:presLayoutVars>
          <dgm:chMax val="0"/>
          <dgm:chPref val="0"/>
          <dgm:bulletEnabled val="1"/>
        </dgm:presLayoutVars>
      </dgm:prSet>
      <dgm:spPr/>
    </dgm:pt>
    <dgm:pt modelId="{A37B09BF-A2D8-4CF7-ADE7-AEDEAAE9EBC3}" type="pres">
      <dgm:prSet presAssocID="{578FB799-B0A2-40E5-A259-8A7A8FC170C1}" presName="BalanceSpacing" presStyleCnt="0"/>
      <dgm:spPr/>
    </dgm:pt>
    <dgm:pt modelId="{12559F73-3ABB-4939-923E-FB3651619AD9}" type="pres">
      <dgm:prSet presAssocID="{578FB799-B0A2-40E5-A259-8A7A8FC170C1}" presName="BalanceSpacing1" presStyleCnt="0"/>
      <dgm:spPr/>
    </dgm:pt>
    <dgm:pt modelId="{819166A7-7599-4803-B3F7-E43447B5D6E2}" type="pres">
      <dgm:prSet presAssocID="{84F941B9-C0AD-4DAF-A793-D97725137B2D}" presName="Accent1Text" presStyleLbl="node1" presStyleIdx="3" presStyleCnt="10"/>
      <dgm:spPr/>
    </dgm:pt>
    <dgm:pt modelId="{A16BCD95-1AB4-4FEF-A8F8-1BE82F2078DD}" type="pres">
      <dgm:prSet presAssocID="{84F941B9-C0AD-4DAF-A793-D97725137B2D}" presName="spaceBetweenRectangles" presStyleCnt="0"/>
      <dgm:spPr/>
    </dgm:pt>
    <dgm:pt modelId="{9CE255FD-8C30-4BEB-A101-4F2C04A19E0E}" type="pres">
      <dgm:prSet presAssocID="{8AB1DC19-60D9-434C-9E70-8A717BE38470}" presName="composite" presStyleCnt="0"/>
      <dgm:spPr/>
    </dgm:pt>
    <dgm:pt modelId="{6159ABEA-9DB6-4149-B828-CA9282AD0727}" type="pres">
      <dgm:prSet presAssocID="{8AB1DC19-60D9-434C-9E70-8A717BE38470}" presName="Parent1" presStyleLbl="node1" presStyleIdx="4" presStyleCnt="10">
        <dgm:presLayoutVars>
          <dgm:chMax val="1"/>
          <dgm:chPref val="1"/>
          <dgm:bulletEnabled val="1"/>
        </dgm:presLayoutVars>
      </dgm:prSet>
      <dgm:spPr/>
    </dgm:pt>
    <dgm:pt modelId="{7BBD38ED-EF4E-49A8-97A5-EBA8663D208E}" type="pres">
      <dgm:prSet presAssocID="{8AB1DC19-60D9-434C-9E70-8A717BE38470}" presName="Childtext1" presStyleLbl="revTx" presStyleIdx="2" presStyleCnt="5">
        <dgm:presLayoutVars>
          <dgm:chMax val="0"/>
          <dgm:chPref val="0"/>
          <dgm:bulletEnabled val="1"/>
        </dgm:presLayoutVars>
      </dgm:prSet>
      <dgm:spPr/>
    </dgm:pt>
    <dgm:pt modelId="{8637DC66-DEA4-4E99-B1E6-9A758DF3C645}" type="pres">
      <dgm:prSet presAssocID="{8AB1DC19-60D9-434C-9E70-8A717BE38470}" presName="BalanceSpacing" presStyleCnt="0"/>
      <dgm:spPr/>
    </dgm:pt>
    <dgm:pt modelId="{290CBDFB-EE8D-4680-B45C-B57A59188031}" type="pres">
      <dgm:prSet presAssocID="{8AB1DC19-60D9-434C-9E70-8A717BE38470}" presName="BalanceSpacing1" presStyleCnt="0"/>
      <dgm:spPr/>
    </dgm:pt>
    <dgm:pt modelId="{92CA2C6D-75A4-438E-BCD7-2EBE4D4F6A1D}" type="pres">
      <dgm:prSet presAssocID="{9BA4989A-6732-4C4B-BD7B-880BE6BB9C41}" presName="Accent1Text" presStyleLbl="node1" presStyleIdx="5" presStyleCnt="10"/>
      <dgm:spPr/>
    </dgm:pt>
    <dgm:pt modelId="{7ABEE20C-9665-4545-9DC0-C188DE234B89}" type="pres">
      <dgm:prSet presAssocID="{9BA4989A-6732-4C4B-BD7B-880BE6BB9C41}" presName="spaceBetweenRectangles" presStyleCnt="0"/>
      <dgm:spPr/>
    </dgm:pt>
    <dgm:pt modelId="{78995F06-59C9-4E51-8C1E-8E9B7D9E42B2}" type="pres">
      <dgm:prSet presAssocID="{55B213E5-B347-43E7-B5A5-F3ED39F92B95}" presName="composite" presStyleCnt="0"/>
      <dgm:spPr/>
    </dgm:pt>
    <dgm:pt modelId="{4691741E-6504-4E69-9F48-807CD6048FEE}" type="pres">
      <dgm:prSet presAssocID="{55B213E5-B347-43E7-B5A5-F3ED39F92B95}" presName="Parent1" presStyleLbl="node1" presStyleIdx="6" presStyleCnt="10" custLinFactX="-11021" custLinFactY="-69703" custLinFactNeighborX="-100000" custLinFactNeighborY="-100000">
        <dgm:presLayoutVars>
          <dgm:chMax val="1"/>
          <dgm:chPref val="1"/>
          <dgm:bulletEnabled val="1"/>
        </dgm:presLayoutVars>
      </dgm:prSet>
      <dgm:spPr/>
    </dgm:pt>
    <dgm:pt modelId="{EDF528F3-E764-4469-87C1-0B02D6229F04}" type="pres">
      <dgm:prSet presAssocID="{55B213E5-B347-43E7-B5A5-F3ED39F92B95}" presName="Childtext1" presStyleLbl="revTx" presStyleIdx="3" presStyleCnt="5">
        <dgm:presLayoutVars>
          <dgm:chMax val="0"/>
          <dgm:chPref val="0"/>
          <dgm:bulletEnabled val="1"/>
        </dgm:presLayoutVars>
      </dgm:prSet>
      <dgm:spPr/>
    </dgm:pt>
    <dgm:pt modelId="{7EB3EA09-B86D-43F5-90CB-43CED20FAA31}" type="pres">
      <dgm:prSet presAssocID="{55B213E5-B347-43E7-B5A5-F3ED39F92B95}" presName="BalanceSpacing" presStyleCnt="0"/>
      <dgm:spPr/>
    </dgm:pt>
    <dgm:pt modelId="{061B5073-04B1-48A2-A505-DCED57057DB2}" type="pres">
      <dgm:prSet presAssocID="{55B213E5-B347-43E7-B5A5-F3ED39F92B95}" presName="BalanceSpacing1" presStyleCnt="0"/>
      <dgm:spPr/>
    </dgm:pt>
    <dgm:pt modelId="{DF6362B6-4310-40D3-9743-7D98A72423D5}" type="pres">
      <dgm:prSet presAssocID="{F4B819FD-0256-4C97-8A99-777133F77190}" presName="Accent1Text" presStyleLbl="node1" presStyleIdx="7" presStyleCnt="10" custLinFactNeighborX="52193" custLinFactNeighborY="-86583"/>
      <dgm:spPr/>
    </dgm:pt>
    <dgm:pt modelId="{018A0498-42FE-4835-9A36-392A09CD6AC2}" type="pres">
      <dgm:prSet presAssocID="{F4B819FD-0256-4C97-8A99-777133F77190}" presName="spaceBetweenRectangles" presStyleCnt="0"/>
      <dgm:spPr/>
    </dgm:pt>
    <dgm:pt modelId="{29AC1778-07BD-48CD-A5F6-4BF55174A0E6}" type="pres">
      <dgm:prSet presAssocID="{D7D21A88-0981-4C42-AA96-0EF6CE278A72}" presName="composite" presStyleCnt="0"/>
      <dgm:spPr/>
    </dgm:pt>
    <dgm:pt modelId="{45C93158-BC4B-4F9B-B2C9-488E62037CD8}" type="pres">
      <dgm:prSet presAssocID="{D7D21A88-0981-4C42-AA96-0EF6CE278A72}" presName="Parent1" presStyleLbl="node1" presStyleIdx="8" presStyleCnt="10" custLinFactX="10198" custLinFactY="-136611" custLinFactNeighborX="100000" custLinFactNeighborY="-200000">
        <dgm:presLayoutVars>
          <dgm:chMax val="1"/>
          <dgm:chPref val="1"/>
          <dgm:bulletEnabled val="1"/>
        </dgm:presLayoutVars>
      </dgm:prSet>
      <dgm:spPr/>
    </dgm:pt>
    <dgm:pt modelId="{1D4B9D85-B8CD-4D97-94F1-38C448D44DA6}" type="pres">
      <dgm:prSet presAssocID="{D7D21A88-0981-4C42-AA96-0EF6CE278A72}" presName="Childtext1" presStyleLbl="revTx" presStyleIdx="4" presStyleCnt="5">
        <dgm:presLayoutVars>
          <dgm:chMax val="0"/>
          <dgm:chPref val="0"/>
          <dgm:bulletEnabled val="1"/>
        </dgm:presLayoutVars>
      </dgm:prSet>
      <dgm:spPr/>
    </dgm:pt>
    <dgm:pt modelId="{D45A1157-AC60-4C50-A19E-C74ABA022A5B}" type="pres">
      <dgm:prSet presAssocID="{D7D21A88-0981-4C42-AA96-0EF6CE278A72}" presName="BalanceSpacing" presStyleCnt="0"/>
      <dgm:spPr/>
    </dgm:pt>
    <dgm:pt modelId="{994024AD-68A5-43BD-BE3C-7AA61BD7CB90}" type="pres">
      <dgm:prSet presAssocID="{D7D21A88-0981-4C42-AA96-0EF6CE278A72}" presName="BalanceSpacing1" presStyleCnt="0"/>
      <dgm:spPr/>
    </dgm:pt>
    <dgm:pt modelId="{4C9CBCDC-211C-49D7-92BB-A144A0C6A853}" type="pres">
      <dgm:prSet presAssocID="{15A9DFAB-8ACC-44B6-8E4A-664E0CB44C26}" presName="Accent1Text" presStyleLbl="node1" presStyleIdx="9" presStyleCnt="10" custLinFactX="100000" custLinFactY="-100000" custLinFactNeighborX="169655" custLinFactNeighborY="-153751"/>
      <dgm:spPr/>
    </dgm:pt>
  </dgm:ptLst>
  <dgm:cxnLst>
    <dgm:cxn modelId="{F9204E0B-6C0F-4EBD-937E-BDBE198227E8}" srcId="{F7BC8743-1CC0-44E5-B855-3132A9BD37BD}" destId="{D7D21A88-0981-4C42-AA96-0EF6CE278A72}" srcOrd="4" destOrd="0" parTransId="{3278D294-D1C6-4657-AEC2-699E42F6C48B}" sibTransId="{15A9DFAB-8ACC-44B6-8E4A-664E0CB44C26}"/>
    <dgm:cxn modelId="{9B99C615-C457-4475-AECC-63CFFF2CCECC}" type="presOf" srcId="{9BA4989A-6732-4C4B-BD7B-880BE6BB9C41}" destId="{92CA2C6D-75A4-438E-BCD7-2EBE4D4F6A1D}" srcOrd="0" destOrd="0" presId="urn:microsoft.com/office/officeart/2008/layout/AlternatingHexagons"/>
    <dgm:cxn modelId="{A2324D2E-5409-4731-845D-ABA4BF75A939}" srcId="{F7BC8743-1CC0-44E5-B855-3132A9BD37BD}" destId="{7E8181BB-BDFD-4D65-AFD4-1C21C5C1D3A9}" srcOrd="0" destOrd="0" parTransId="{FC114A2A-E66A-4748-B7C5-13D31C756A3C}" sibTransId="{11471E87-0763-4FAB-8577-21469F3BD7CC}"/>
    <dgm:cxn modelId="{1F52A937-3DD8-4CB2-9CEF-1CDEDB58F0FF}" type="presOf" srcId="{15A9DFAB-8ACC-44B6-8E4A-664E0CB44C26}" destId="{4C9CBCDC-211C-49D7-92BB-A144A0C6A853}" srcOrd="0" destOrd="0" presId="urn:microsoft.com/office/officeart/2008/layout/AlternatingHexagons"/>
    <dgm:cxn modelId="{05324E40-2519-4BF3-9A6B-1815ABEC3B04}" srcId="{F7BC8743-1CC0-44E5-B855-3132A9BD37BD}" destId="{8AB1DC19-60D9-434C-9E70-8A717BE38470}" srcOrd="2" destOrd="0" parTransId="{F850EB6E-B324-44B9-9F3A-A881339D86D3}" sibTransId="{9BA4989A-6732-4C4B-BD7B-880BE6BB9C41}"/>
    <dgm:cxn modelId="{5320D252-A2AF-4208-A83A-F33AB0C2081C}" type="presOf" srcId="{F7BC8743-1CC0-44E5-B855-3132A9BD37BD}" destId="{EF646B66-B0B0-446A-9C5A-643F0C98C891}" srcOrd="0" destOrd="0" presId="urn:microsoft.com/office/officeart/2008/layout/AlternatingHexagons"/>
    <dgm:cxn modelId="{22124E59-0FD4-4A2B-886A-5C88BF150688}" srcId="{7E8181BB-BDFD-4D65-AFD4-1C21C5C1D3A9}" destId="{CE8FE83F-BF67-4800-BE1D-D0F148A41E84}" srcOrd="0" destOrd="0" parTransId="{0BE7B50C-3260-428E-8DF5-3A5693565427}" sibTransId="{8FE3FBF6-4D62-4FFF-9205-4C7C4B471494}"/>
    <dgm:cxn modelId="{14B76B78-354E-495C-9377-8D0A819B01B6}" type="presOf" srcId="{DECEDB18-EB84-40EF-BD1D-F6381B5A4ED2}" destId="{7BBD38ED-EF4E-49A8-97A5-EBA8663D208E}" srcOrd="0" destOrd="0" presId="urn:microsoft.com/office/officeart/2008/layout/AlternatingHexagons"/>
    <dgm:cxn modelId="{F5BDE67E-8F3B-45F6-9009-35D5EE031994}" srcId="{F7BC8743-1CC0-44E5-B855-3132A9BD37BD}" destId="{55B213E5-B347-43E7-B5A5-F3ED39F92B95}" srcOrd="3" destOrd="0" parTransId="{0D1C95DD-6003-4576-B4D4-2C217A26411B}" sibTransId="{F4B819FD-0256-4C97-8A99-777133F77190}"/>
    <dgm:cxn modelId="{B5829B85-C497-4A5B-9474-19CFB53D2F63}" type="presOf" srcId="{55B213E5-B347-43E7-B5A5-F3ED39F92B95}" destId="{4691741E-6504-4E69-9F48-807CD6048FEE}" srcOrd="0" destOrd="0" presId="urn:microsoft.com/office/officeart/2008/layout/AlternatingHexagons"/>
    <dgm:cxn modelId="{4A6EEF8B-059E-4CC2-8A4F-AEE8DC76E670}" type="presOf" srcId="{11471E87-0763-4FAB-8577-21469F3BD7CC}" destId="{FD662064-B566-4959-BC16-8CAAA701AFB6}" srcOrd="0" destOrd="0" presId="urn:microsoft.com/office/officeart/2008/layout/AlternatingHexagons"/>
    <dgm:cxn modelId="{104A448F-F1BB-4F08-8AE5-8A4F9F2A2F58}" type="presOf" srcId="{D7D21A88-0981-4C42-AA96-0EF6CE278A72}" destId="{45C93158-BC4B-4F9B-B2C9-488E62037CD8}" srcOrd="0" destOrd="0" presId="urn:microsoft.com/office/officeart/2008/layout/AlternatingHexagons"/>
    <dgm:cxn modelId="{48599B93-409C-422B-AEF2-7533BD1B2069}" type="presOf" srcId="{7E8181BB-BDFD-4D65-AFD4-1C21C5C1D3A9}" destId="{F93FCEB7-FBEB-4887-A162-9F0CB36B58DE}" srcOrd="0" destOrd="0" presId="urn:microsoft.com/office/officeart/2008/layout/AlternatingHexagons"/>
    <dgm:cxn modelId="{08EF8F9E-E351-43D8-813C-9B2F99607445}" type="presOf" srcId="{8AB1DC19-60D9-434C-9E70-8A717BE38470}" destId="{6159ABEA-9DB6-4149-B828-CA9282AD0727}" srcOrd="0" destOrd="0" presId="urn:microsoft.com/office/officeart/2008/layout/AlternatingHexagons"/>
    <dgm:cxn modelId="{DB4BD7A0-5A58-475B-945D-25427BE77962}" type="presOf" srcId="{4CF19497-37A0-401A-86AA-317D468AFA0D}" destId="{14E7C234-8218-48F8-9D34-C939568DBC05}" srcOrd="0" destOrd="0" presId="urn:microsoft.com/office/officeart/2008/layout/AlternatingHexagons"/>
    <dgm:cxn modelId="{46EDCBAD-5794-434E-B67E-777FD74F28EE}" srcId="{F7BC8743-1CC0-44E5-B855-3132A9BD37BD}" destId="{578FB799-B0A2-40E5-A259-8A7A8FC170C1}" srcOrd="1" destOrd="0" parTransId="{F9E858F3-AE43-461B-94B7-3B0D5F98931A}" sibTransId="{84F941B9-C0AD-4DAF-A793-D97725137B2D}"/>
    <dgm:cxn modelId="{D03070BE-E861-490D-9BE5-6E6CAA6D6653}" type="presOf" srcId="{578FB799-B0A2-40E5-A259-8A7A8FC170C1}" destId="{F457ABE6-BA41-41EE-A5AE-749DFBC2B2A3}" srcOrd="0" destOrd="0" presId="urn:microsoft.com/office/officeart/2008/layout/AlternatingHexagons"/>
    <dgm:cxn modelId="{4509FACD-2786-44A2-BF6C-209D76EE3D93}" srcId="{8AB1DC19-60D9-434C-9E70-8A717BE38470}" destId="{DECEDB18-EB84-40EF-BD1D-F6381B5A4ED2}" srcOrd="0" destOrd="0" parTransId="{57E8FADA-DFBA-437D-AE67-84D5DD6D565E}" sibTransId="{7E07251C-E144-4B75-88F4-8AFAE73A06C5}"/>
    <dgm:cxn modelId="{F3A2B0E5-B45C-4F92-AB6C-18217CFE83ED}" type="presOf" srcId="{F4B819FD-0256-4C97-8A99-777133F77190}" destId="{DF6362B6-4310-40D3-9743-7D98A72423D5}" srcOrd="0" destOrd="0" presId="urn:microsoft.com/office/officeart/2008/layout/AlternatingHexagons"/>
    <dgm:cxn modelId="{E2FD4FE6-0A3D-4D6F-8773-C34026E38A21}" type="presOf" srcId="{CE8FE83F-BF67-4800-BE1D-D0F148A41E84}" destId="{F8CE4B9C-A86E-414E-B4E4-EA15C918641D}" srcOrd="0" destOrd="0" presId="urn:microsoft.com/office/officeart/2008/layout/AlternatingHexagons"/>
    <dgm:cxn modelId="{E1A803EC-828F-4848-A835-73D9EBB428A1}" srcId="{578FB799-B0A2-40E5-A259-8A7A8FC170C1}" destId="{4CF19497-37A0-401A-86AA-317D468AFA0D}" srcOrd="0" destOrd="0" parTransId="{AF9FBF70-110D-4847-91DF-7D0C0BB10EC8}" sibTransId="{01D35864-2E57-4B8C-ACD5-268509AA2DA5}"/>
    <dgm:cxn modelId="{E7CF25FE-563E-4B69-B6EA-9BEEBB8B13E3}" type="presOf" srcId="{84F941B9-C0AD-4DAF-A793-D97725137B2D}" destId="{819166A7-7599-4803-B3F7-E43447B5D6E2}" srcOrd="0" destOrd="0" presId="urn:microsoft.com/office/officeart/2008/layout/AlternatingHexagons"/>
    <dgm:cxn modelId="{2F1B8079-6DF7-4A25-BD44-E36D2A8FDA92}" type="presParOf" srcId="{EF646B66-B0B0-446A-9C5A-643F0C98C891}" destId="{7459AC72-2E67-4FF5-9B2A-3A4CBFA82644}" srcOrd="0" destOrd="0" presId="urn:microsoft.com/office/officeart/2008/layout/AlternatingHexagons"/>
    <dgm:cxn modelId="{262FAF4D-841A-4AB8-A197-BDFF669CCB18}" type="presParOf" srcId="{7459AC72-2E67-4FF5-9B2A-3A4CBFA82644}" destId="{F93FCEB7-FBEB-4887-A162-9F0CB36B58DE}" srcOrd="0" destOrd="0" presId="urn:microsoft.com/office/officeart/2008/layout/AlternatingHexagons"/>
    <dgm:cxn modelId="{1CE44B75-0433-4DFF-B258-2923212A43F9}" type="presParOf" srcId="{7459AC72-2E67-4FF5-9B2A-3A4CBFA82644}" destId="{F8CE4B9C-A86E-414E-B4E4-EA15C918641D}" srcOrd="1" destOrd="0" presId="urn:microsoft.com/office/officeart/2008/layout/AlternatingHexagons"/>
    <dgm:cxn modelId="{C5C9C7A6-C854-4C4E-80C0-AD4FF30E0ADF}" type="presParOf" srcId="{7459AC72-2E67-4FF5-9B2A-3A4CBFA82644}" destId="{C1D4FC71-06C0-4BAD-A5E8-39FB613CD3CA}" srcOrd="2" destOrd="0" presId="urn:microsoft.com/office/officeart/2008/layout/AlternatingHexagons"/>
    <dgm:cxn modelId="{521E797C-CBB9-40CE-BC1C-601FAD4DF784}" type="presParOf" srcId="{7459AC72-2E67-4FF5-9B2A-3A4CBFA82644}" destId="{87715DE5-2186-49A4-BEFE-F4B9B80BE8FA}" srcOrd="3" destOrd="0" presId="urn:microsoft.com/office/officeart/2008/layout/AlternatingHexagons"/>
    <dgm:cxn modelId="{4CFA73B9-EE37-4F60-9B0D-F605574552DE}" type="presParOf" srcId="{7459AC72-2E67-4FF5-9B2A-3A4CBFA82644}" destId="{FD662064-B566-4959-BC16-8CAAA701AFB6}" srcOrd="4" destOrd="0" presId="urn:microsoft.com/office/officeart/2008/layout/AlternatingHexagons"/>
    <dgm:cxn modelId="{BB9582BF-6D9C-4A13-8E71-ED7382D70496}" type="presParOf" srcId="{EF646B66-B0B0-446A-9C5A-643F0C98C891}" destId="{603CAFCA-4DD1-46F7-8303-776664F31669}" srcOrd="1" destOrd="0" presId="urn:microsoft.com/office/officeart/2008/layout/AlternatingHexagons"/>
    <dgm:cxn modelId="{B11DE239-1E00-4C7F-9689-DE126C7F59D1}" type="presParOf" srcId="{EF646B66-B0B0-446A-9C5A-643F0C98C891}" destId="{355AD7D4-59F1-4F7F-A62C-8CD2AEFF1C73}" srcOrd="2" destOrd="0" presId="urn:microsoft.com/office/officeart/2008/layout/AlternatingHexagons"/>
    <dgm:cxn modelId="{DFBCC7A1-ED41-41CF-80E1-89B64B3E8194}" type="presParOf" srcId="{355AD7D4-59F1-4F7F-A62C-8CD2AEFF1C73}" destId="{F457ABE6-BA41-41EE-A5AE-749DFBC2B2A3}" srcOrd="0" destOrd="0" presId="urn:microsoft.com/office/officeart/2008/layout/AlternatingHexagons"/>
    <dgm:cxn modelId="{73AD0A6A-B96E-4CEA-8BFB-8E09D7937238}" type="presParOf" srcId="{355AD7D4-59F1-4F7F-A62C-8CD2AEFF1C73}" destId="{14E7C234-8218-48F8-9D34-C939568DBC05}" srcOrd="1" destOrd="0" presId="urn:microsoft.com/office/officeart/2008/layout/AlternatingHexagons"/>
    <dgm:cxn modelId="{3C2CDA74-1F78-47C2-80FA-96B847EF5772}" type="presParOf" srcId="{355AD7D4-59F1-4F7F-A62C-8CD2AEFF1C73}" destId="{A37B09BF-A2D8-4CF7-ADE7-AEDEAAE9EBC3}" srcOrd="2" destOrd="0" presId="urn:microsoft.com/office/officeart/2008/layout/AlternatingHexagons"/>
    <dgm:cxn modelId="{DD975AA0-3116-44A4-8F67-87B724636819}" type="presParOf" srcId="{355AD7D4-59F1-4F7F-A62C-8CD2AEFF1C73}" destId="{12559F73-3ABB-4939-923E-FB3651619AD9}" srcOrd="3" destOrd="0" presId="urn:microsoft.com/office/officeart/2008/layout/AlternatingHexagons"/>
    <dgm:cxn modelId="{D57047D7-3EC8-4CBE-BF04-96A4469F8BFB}" type="presParOf" srcId="{355AD7D4-59F1-4F7F-A62C-8CD2AEFF1C73}" destId="{819166A7-7599-4803-B3F7-E43447B5D6E2}" srcOrd="4" destOrd="0" presId="urn:microsoft.com/office/officeart/2008/layout/AlternatingHexagons"/>
    <dgm:cxn modelId="{A619ECC4-327A-450C-8686-516E49F2B595}" type="presParOf" srcId="{EF646B66-B0B0-446A-9C5A-643F0C98C891}" destId="{A16BCD95-1AB4-4FEF-A8F8-1BE82F2078DD}" srcOrd="3" destOrd="0" presId="urn:microsoft.com/office/officeart/2008/layout/AlternatingHexagons"/>
    <dgm:cxn modelId="{6A751AFF-53E0-4DA3-8C97-33F3C012F18F}" type="presParOf" srcId="{EF646B66-B0B0-446A-9C5A-643F0C98C891}" destId="{9CE255FD-8C30-4BEB-A101-4F2C04A19E0E}" srcOrd="4" destOrd="0" presId="urn:microsoft.com/office/officeart/2008/layout/AlternatingHexagons"/>
    <dgm:cxn modelId="{ABDF0D2C-8797-4CF1-B55F-28B96F2A8F22}" type="presParOf" srcId="{9CE255FD-8C30-4BEB-A101-4F2C04A19E0E}" destId="{6159ABEA-9DB6-4149-B828-CA9282AD0727}" srcOrd="0" destOrd="0" presId="urn:microsoft.com/office/officeart/2008/layout/AlternatingHexagons"/>
    <dgm:cxn modelId="{65E0D162-E41E-4DC5-9474-4738D75E7851}" type="presParOf" srcId="{9CE255FD-8C30-4BEB-A101-4F2C04A19E0E}" destId="{7BBD38ED-EF4E-49A8-97A5-EBA8663D208E}" srcOrd="1" destOrd="0" presId="urn:microsoft.com/office/officeart/2008/layout/AlternatingHexagons"/>
    <dgm:cxn modelId="{E5831C35-6DBF-4C9F-866D-D8C942665E6D}" type="presParOf" srcId="{9CE255FD-8C30-4BEB-A101-4F2C04A19E0E}" destId="{8637DC66-DEA4-4E99-B1E6-9A758DF3C645}" srcOrd="2" destOrd="0" presId="urn:microsoft.com/office/officeart/2008/layout/AlternatingHexagons"/>
    <dgm:cxn modelId="{3C743420-AD46-4CBB-9F99-BF1EAC686038}" type="presParOf" srcId="{9CE255FD-8C30-4BEB-A101-4F2C04A19E0E}" destId="{290CBDFB-EE8D-4680-B45C-B57A59188031}" srcOrd="3" destOrd="0" presId="urn:microsoft.com/office/officeart/2008/layout/AlternatingHexagons"/>
    <dgm:cxn modelId="{C81428DB-BFC1-4B63-8AD2-01AA293AA32A}" type="presParOf" srcId="{9CE255FD-8C30-4BEB-A101-4F2C04A19E0E}" destId="{92CA2C6D-75A4-438E-BCD7-2EBE4D4F6A1D}" srcOrd="4" destOrd="0" presId="urn:microsoft.com/office/officeart/2008/layout/AlternatingHexagons"/>
    <dgm:cxn modelId="{BB379E0E-00D7-4253-AD9B-483A0F75A3C9}" type="presParOf" srcId="{EF646B66-B0B0-446A-9C5A-643F0C98C891}" destId="{7ABEE20C-9665-4545-9DC0-C188DE234B89}" srcOrd="5" destOrd="0" presId="urn:microsoft.com/office/officeart/2008/layout/AlternatingHexagons"/>
    <dgm:cxn modelId="{B8D524B0-F07E-4FDF-A307-872792535D07}" type="presParOf" srcId="{EF646B66-B0B0-446A-9C5A-643F0C98C891}" destId="{78995F06-59C9-4E51-8C1E-8E9B7D9E42B2}" srcOrd="6" destOrd="0" presId="urn:microsoft.com/office/officeart/2008/layout/AlternatingHexagons"/>
    <dgm:cxn modelId="{8709BBDF-11AD-47D3-A8EE-F316FD4269FA}" type="presParOf" srcId="{78995F06-59C9-4E51-8C1E-8E9B7D9E42B2}" destId="{4691741E-6504-4E69-9F48-807CD6048FEE}" srcOrd="0" destOrd="0" presId="urn:microsoft.com/office/officeart/2008/layout/AlternatingHexagons"/>
    <dgm:cxn modelId="{0DBC3EA2-5E61-4687-9344-DDDC47819625}" type="presParOf" srcId="{78995F06-59C9-4E51-8C1E-8E9B7D9E42B2}" destId="{EDF528F3-E764-4469-87C1-0B02D6229F04}" srcOrd="1" destOrd="0" presId="urn:microsoft.com/office/officeart/2008/layout/AlternatingHexagons"/>
    <dgm:cxn modelId="{D6D514BF-A065-40B7-8222-3AD77EDA2C5B}" type="presParOf" srcId="{78995F06-59C9-4E51-8C1E-8E9B7D9E42B2}" destId="{7EB3EA09-B86D-43F5-90CB-43CED20FAA31}" srcOrd="2" destOrd="0" presId="urn:microsoft.com/office/officeart/2008/layout/AlternatingHexagons"/>
    <dgm:cxn modelId="{F087F0B6-F3A0-4DA6-B9AA-B8BF5515A218}" type="presParOf" srcId="{78995F06-59C9-4E51-8C1E-8E9B7D9E42B2}" destId="{061B5073-04B1-48A2-A505-DCED57057DB2}" srcOrd="3" destOrd="0" presId="urn:microsoft.com/office/officeart/2008/layout/AlternatingHexagons"/>
    <dgm:cxn modelId="{1B193B1D-E74B-4A96-90E2-1C2A7C5FD468}" type="presParOf" srcId="{78995F06-59C9-4E51-8C1E-8E9B7D9E42B2}" destId="{DF6362B6-4310-40D3-9743-7D98A72423D5}" srcOrd="4" destOrd="0" presId="urn:microsoft.com/office/officeart/2008/layout/AlternatingHexagons"/>
    <dgm:cxn modelId="{5B7C7002-C03E-47FF-B265-ACE34B45EE64}" type="presParOf" srcId="{EF646B66-B0B0-446A-9C5A-643F0C98C891}" destId="{018A0498-42FE-4835-9A36-392A09CD6AC2}" srcOrd="7" destOrd="0" presId="urn:microsoft.com/office/officeart/2008/layout/AlternatingHexagons"/>
    <dgm:cxn modelId="{FCD9EFD1-7BCB-4BC7-ADAB-E58842578D40}" type="presParOf" srcId="{EF646B66-B0B0-446A-9C5A-643F0C98C891}" destId="{29AC1778-07BD-48CD-A5F6-4BF55174A0E6}" srcOrd="8" destOrd="0" presId="urn:microsoft.com/office/officeart/2008/layout/AlternatingHexagons"/>
    <dgm:cxn modelId="{13DA5680-4E6E-472D-8071-5CD14D54E7C0}" type="presParOf" srcId="{29AC1778-07BD-48CD-A5F6-4BF55174A0E6}" destId="{45C93158-BC4B-4F9B-B2C9-488E62037CD8}" srcOrd="0" destOrd="0" presId="urn:microsoft.com/office/officeart/2008/layout/AlternatingHexagons"/>
    <dgm:cxn modelId="{07F63B39-6744-4327-B06C-D9227E77CEF2}" type="presParOf" srcId="{29AC1778-07BD-48CD-A5F6-4BF55174A0E6}" destId="{1D4B9D85-B8CD-4D97-94F1-38C448D44DA6}" srcOrd="1" destOrd="0" presId="urn:microsoft.com/office/officeart/2008/layout/AlternatingHexagons"/>
    <dgm:cxn modelId="{2074740F-28FF-4F46-95A8-1B15C89DC97D}" type="presParOf" srcId="{29AC1778-07BD-48CD-A5F6-4BF55174A0E6}" destId="{D45A1157-AC60-4C50-A19E-C74ABA022A5B}" srcOrd="2" destOrd="0" presId="urn:microsoft.com/office/officeart/2008/layout/AlternatingHexagons"/>
    <dgm:cxn modelId="{70EEB6E3-3753-4B82-BFC3-031783F07AB3}" type="presParOf" srcId="{29AC1778-07BD-48CD-A5F6-4BF55174A0E6}" destId="{994024AD-68A5-43BD-BE3C-7AA61BD7CB90}" srcOrd="3" destOrd="0" presId="urn:microsoft.com/office/officeart/2008/layout/AlternatingHexagons"/>
    <dgm:cxn modelId="{D33AE601-C79A-4DF0-8CEB-C575C11D1439}" type="presParOf" srcId="{29AC1778-07BD-48CD-A5F6-4BF55174A0E6}" destId="{4C9CBCDC-211C-49D7-92BB-A144A0C6A853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7BC8743-1CC0-44E5-B855-3132A9BD37BD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pPr rtl="1"/>
          <a:endParaRPr lang="ar-SA"/>
        </a:p>
      </dgm:t>
    </dgm:pt>
    <dgm:pt modelId="{7E8181BB-BDFD-4D65-AFD4-1C21C5C1D3A9}">
      <dgm:prSet phldrT="[Text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pPr rtl="1"/>
          <a:r>
            <a:rPr lang="en-US" sz="1600" dirty="0"/>
            <a:t>Data driven decisions</a:t>
          </a:r>
          <a:endParaRPr lang="ar-SA" sz="1600" dirty="0"/>
        </a:p>
      </dgm:t>
    </dgm:pt>
    <dgm:pt modelId="{FC114A2A-E66A-4748-B7C5-13D31C756A3C}" type="parTrans" cxnId="{A2324D2E-5409-4731-845D-ABA4BF75A939}">
      <dgm:prSet/>
      <dgm:spPr/>
      <dgm:t>
        <a:bodyPr/>
        <a:lstStyle/>
        <a:p>
          <a:pPr rtl="1"/>
          <a:endParaRPr lang="ar-SA"/>
        </a:p>
      </dgm:t>
    </dgm:pt>
    <dgm:pt modelId="{11471E87-0763-4FAB-8577-21469F3BD7CC}" type="sibTrans" cxnId="{A2324D2E-5409-4731-845D-ABA4BF75A939}">
      <dgm:prSet custT="1"/>
      <dgm:spPr>
        <a:solidFill>
          <a:srgbClr val="03A5B8"/>
        </a:solidFill>
      </dgm:spPr>
      <dgm:t>
        <a:bodyPr/>
        <a:lstStyle/>
        <a:p>
          <a:pPr rtl="1"/>
          <a:r>
            <a:rPr lang="en-US" sz="1600" dirty="0"/>
            <a:t>Integrated approach to problems</a:t>
          </a:r>
          <a:endParaRPr lang="ar-SA" sz="1600" dirty="0"/>
        </a:p>
      </dgm:t>
    </dgm:pt>
    <dgm:pt modelId="{CE8FE83F-BF67-4800-BE1D-D0F148A41E84}">
      <dgm:prSet phldrT="[Text]" phldr="1"/>
      <dgm:spPr/>
      <dgm:t>
        <a:bodyPr/>
        <a:lstStyle/>
        <a:p>
          <a:pPr rtl="1"/>
          <a:endParaRPr lang="ar-SA"/>
        </a:p>
      </dgm:t>
    </dgm:pt>
    <dgm:pt modelId="{0BE7B50C-3260-428E-8DF5-3A5693565427}" type="parTrans" cxnId="{22124E59-0FD4-4A2B-886A-5C88BF150688}">
      <dgm:prSet/>
      <dgm:spPr/>
      <dgm:t>
        <a:bodyPr/>
        <a:lstStyle/>
        <a:p>
          <a:pPr rtl="1"/>
          <a:endParaRPr lang="ar-SA"/>
        </a:p>
      </dgm:t>
    </dgm:pt>
    <dgm:pt modelId="{8FE3FBF6-4D62-4FFF-9205-4C7C4B471494}" type="sibTrans" cxnId="{22124E59-0FD4-4A2B-886A-5C88BF150688}">
      <dgm:prSet/>
      <dgm:spPr/>
      <dgm:t>
        <a:bodyPr/>
        <a:lstStyle/>
        <a:p>
          <a:pPr rtl="1"/>
          <a:endParaRPr lang="ar-SA"/>
        </a:p>
      </dgm:t>
    </dgm:pt>
    <dgm:pt modelId="{578FB799-B0A2-40E5-A259-8A7A8FC170C1}">
      <dgm:prSet phldrT="[Text]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pPr rtl="1"/>
          <a:r>
            <a:rPr lang="en-US" dirty="0"/>
            <a:t>Advanced technology</a:t>
          </a:r>
          <a:endParaRPr lang="ar-SA" dirty="0"/>
        </a:p>
      </dgm:t>
    </dgm:pt>
    <dgm:pt modelId="{F9E858F3-AE43-461B-94B7-3B0D5F98931A}" type="parTrans" cxnId="{46EDCBAD-5794-434E-B67E-777FD74F28EE}">
      <dgm:prSet/>
      <dgm:spPr/>
      <dgm:t>
        <a:bodyPr/>
        <a:lstStyle/>
        <a:p>
          <a:pPr rtl="1"/>
          <a:endParaRPr lang="ar-SA"/>
        </a:p>
      </dgm:t>
    </dgm:pt>
    <dgm:pt modelId="{84F941B9-C0AD-4DAF-A793-D97725137B2D}" type="sibTrans" cxnId="{46EDCBAD-5794-434E-B67E-777FD74F28EE}">
      <dgm:prSet custT="1"/>
      <dgm:spPr/>
      <dgm:t>
        <a:bodyPr/>
        <a:lstStyle/>
        <a:p>
          <a:pPr rtl="1"/>
          <a:r>
            <a:rPr lang="en-US" sz="1600" dirty="0"/>
            <a:t>Value based care</a:t>
          </a:r>
          <a:endParaRPr lang="ar-SA" sz="1600" dirty="0"/>
        </a:p>
      </dgm:t>
    </dgm:pt>
    <dgm:pt modelId="{4CF19497-37A0-401A-86AA-317D468AFA0D}">
      <dgm:prSet phldrT="[Text]" phldr="1"/>
      <dgm:spPr/>
      <dgm:t>
        <a:bodyPr/>
        <a:lstStyle/>
        <a:p>
          <a:pPr rtl="1"/>
          <a:endParaRPr lang="ar-SA" dirty="0"/>
        </a:p>
      </dgm:t>
    </dgm:pt>
    <dgm:pt modelId="{AF9FBF70-110D-4847-91DF-7D0C0BB10EC8}" type="parTrans" cxnId="{E1A803EC-828F-4848-A835-73D9EBB428A1}">
      <dgm:prSet/>
      <dgm:spPr/>
      <dgm:t>
        <a:bodyPr/>
        <a:lstStyle/>
        <a:p>
          <a:pPr rtl="1"/>
          <a:endParaRPr lang="ar-SA"/>
        </a:p>
      </dgm:t>
    </dgm:pt>
    <dgm:pt modelId="{01D35864-2E57-4B8C-ACD5-268509AA2DA5}" type="sibTrans" cxnId="{E1A803EC-828F-4848-A835-73D9EBB428A1}">
      <dgm:prSet/>
      <dgm:spPr/>
      <dgm:t>
        <a:bodyPr/>
        <a:lstStyle/>
        <a:p>
          <a:pPr rtl="1"/>
          <a:endParaRPr lang="ar-SA"/>
        </a:p>
      </dgm:t>
    </dgm:pt>
    <dgm:pt modelId="{8AB1DC19-60D9-434C-9E70-8A717BE38470}">
      <dgm:prSet phldrT="[Text]" custT="1"/>
      <dgm:spPr>
        <a:solidFill>
          <a:srgbClr val="03A5B8"/>
        </a:solidFill>
      </dgm:spPr>
      <dgm:t>
        <a:bodyPr/>
        <a:lstStyle/>
        <a:p>
          <a:pPr rtl="1"/>
          <a:r>
            <a:rPr lang="en-US" sz="1600" dirty="0"/>
            <a:t>Sharing of resources</a:t>
          </a:r>
          <a:endParaRPr lang="ar-SA" sz="1600" dirty="0"/>
        </a:p>
      </dgm:t>
    </dgm:pt>
    <dgm:pt modelId="{F850EB6E-B324-44B9-9F3A-A881339D86D3}" type="parTrans" cxnId="{05324E40-2519-4BF3-9A6B-1815ABEC3B04}">
      <dgm:prSet/>
      <dgm:spPr/>
      <dgm:t>
        <a:bodyPr/>
        <a:lstStyle/>
        <a:p>
          <a:pPr rtl="1"/>
          <a:endParaRPr lang="ar-SA"/>
        </a:p>
      </dgm:t>
    </dgm:pt>
    <dgm:pt modelId="{9BA4989A-6732-4C4B-BD7B-880BE6BB9C41}" type="sibTrans" cxnId="{05324E40-2519-4BF3-9A6B-1815ABEC3B04}">
      <dgm:prSet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pPr rtl="1"/>
          <a:r>
            <a:rPr lang="en-US" dirty="0"/>
            <a:t>Policy and regulatory enhancement</a:t>
          </a:r>
          <a:endParaRPr lang="ar-SA" dirty="0"/>
        </a:p>
      </dgm:t>
    </dgm:pt>
    <dgm:pt modelId="{DECEDB18-EB84-40EF-BD1D-F6381B5A4ED2}">
      <dgm:prSet phldrT="[Text]" phldr="1"/>
      <dgm:spPr/>
      <dgm:t>
        <a:bodyPr/>
        <a:lstStyle/>
        <a:p>
          <a:pPr rtl="1"/>
          <a:endParaRPr lang="ar-SA"/>
        </a:p>
      </dgm:t>
    </dgm:pt>
    <dgm:pt modelId="{57E8FADA-DFBA-437D-AE67-84D5DD6D565E}" type="parTrans" cxnId="{4509FACD-2786-44A2-BF6C-209D76EE3D93}">
      <dgm:prSet/>
      <dgm:spPr/>
      <dgm:t>
        <a:bodyPr/>
        <a:lstStyle/>
        <a:p>
          <a:pPr rtl="1"/>
          <a:endParaRPr lang="ar-SA"/>
        </a:p>
      </dgm:t>
    </dgm:pt>
    <dgm:pt modelId="{7E07251C-E144-4B75-88F4-8AFAE73A06C5}" type="sibTrans" cxnId="{4509FACD-2786-44A2-BF6C-209D76EE3D93}">
      <dgm:prSet/>
      <dgm:spPr/>
      <dgm:t>
        <a:bodyPr/>
        <a:lstStyle/>
        <a:p>
          <a:pPr rtl="1"/>
          <a:endParaRPr lang="ar-SA"/>
        </a:p>
      </dgm:t>
    </dgm:pt>
    <dgm:pt modelId="{55B213E5-B347-43E7-B5A5-F3ED39F92B95}">
      <dgm:prSet phldrT="[Text]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pPr rtl="1"/>
          <a:r>
            <a:rPr lang="en-US" dirty="0"/>
            <a:t>Increasing patient engagement</a:t>
          </a:r>
          <a:endParaRPr lang="ar-SA" dirty="0"/>
        </a:p>
      </dgm:t>
    </dgm:pt>
    <dgm:pt modelId="{0D1C95DD-6003-4576-B4D4-2C217A26411B}" type="parTrans" cxnId="{F5BDE67E-8F3B-45F6-9009-35D5EE031994}">
      <dgm:prSet/>
      <dgm:spPr/>
      <dgm:t>
        <a:bodyPr/>
        <a:lstStyle/>
        <a:p>
          <a:pPr rtl="1"/>
          <a:endParaRPr lang="ar-SA"/>
        </a:p>
      </dgm:t>
    </dgm:pt>
    <dgm:pt modelId="{F4B819FD-0256-4C97-8A99-777133F77190}" type="sibTrans" cxnId="{F5BDE67E-8F3B-45F6-9009-35D5EE031994}">
      <dgm:prSet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pPr rtl="1"/>
          <a:r>
            <a:rPr lang="en-US" dirty="0"/>
            <a:t> addressing Social determinants</a:t>
          </a:r>
          <a:endParaRPr lang="ar-SA" dirty="0"/>
        </a:p>
      </dgm:t>
    </dgm:pt>
    <dgm:pt modelId="{D7D21A88-0981-4C42-AA96-0EF6CE278A72}">
      <dgm:prSet phldrT="[Text]" custT="1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pPr marL="0" indent="0" algn="ctr" defTabSz="984250" rtl="1">
            <a:tabLst>
              <a:tab pos="809625" algn="l"/>
              <a:tab pos="896938" algn="l"/>
            </a:tabLst>
          </a:pPr>
          <a:r>
            <a:rPr lang="en-US" sz="1400" dirty="0"/>
            <a:t>Interdisciplinary  collaboration</a:t>
          </a:r>
          <a:endParaRPr lang="ar-SA" sz="1400" dirty="0"/>
        </a:p>
      </dgm:t>
    </dgm:pt>
    <dgm:pt modelId="{3278D294-D1C6-4657-AEC2-699E42F6C48B}" type="parTrans" cxnId="{F9204E0B-6C0F-4EBD-937E-BDBE198227E8}">
      <dgm:prSet/>
      <dgm:spPr/>
      <dgm:t>
        <a:bodyPr/>
        <a:lstStyle/>
        <a:p>
          <a:pPr rtl="1"/>
          <a:endParaRPr lang="ar-SA"/>
        </a:p>
      </dgm:t>
    </dgm:pt>
    <dgm:pt modelId="{15A9DFAB-8ACC-44B6-8E4A-664E0CB44C26}" type="sibTrans" cxnId="{F9204E0B-6C0F-4EBD-937E-BDBE198227E8}">
      <dgm:prSet custT="1"/>
      <dgm:spPr>
        <a:solidFill>
          <a:srgbClr val="03A5B8"/>
        </a:solidFill>
      </dgm:spPr>
      <dgm:t>
        <a:bodyPr/>
        <a:lstStyle/>
        <a:p>
          <a:pPr rtl="1"/>
          <a:r>
            <a:rPr lang="en-US" sz="1600" dirty="0"/>
            <a:t>Prediction and prevention</a:t>
          </a:r>
          <a:endParaRPr lang="ar-SA" sz="1600" dirty="0"/>
        </a:p>
      </dgm:t>
    </dgm:pt>
    <dgm:pt modelId="{EF646B66-B0B0-446A-9C5A-643F0C98C891}" type="pres">
      <dgm:prSet presAssocID="{F7BC8743-1CC0-44E5-B855-3132A9BD37BD}" presName="Name0" presStyleCnt="0">
        <dgm:presLayoutVars>
          <dgm:chMax/>
          <dgm:chPref/>
          <dgm:dir/>
          <dgm:animLvl val="lvl"/>
        </dgm:presLayoutVars>
      </dgm:prSet>
      <dgm:spPr/>
    </dgm:pt>
    <dgm:pt modelId="{7459AC72-2E67-4FF5-9B2A-3A4CBFA82644}" type="pres">
      <dgm:prSet presAssocID="{7E8181BB-BDFD-4D65-AFD4-1C21C5C1D3A9}" presName="composite" presStyleCnt="0"/>
      <dgm:spPr/>
    </dgm:pt>
    <dgm:pt modelId="{F93FCEB7-FBEB-4887-A162-9F0CB36B58DE}" type="pres">
      <dgm:prSet presAssocID="{7E8181BB-BDFD-4D65-AFD4-1C21C5C1D3A9}" presName="Parent1" presStyleLbl="node1" presStyleIdx="0" presStyleCnt="10">
        <dgm:presLayoutVars>
          <dgm:chMax val="1"/>
          <dgm:chPref val="1"/>
          <dgm:bulletEnabled val="1"/>
        </dgm:presLayoutVars>
      </dgm:prSet>
      <dgm:spPr/>
    </dgm:pt>
    <dgm:pt modelId="{F8CE4B9C-A86E-414E-B4E4-EA15C918641D}" type="pres">
      <dgm:prSet presAssocID="{7E8181BB-BDFD-4D65-AFD4-1C21C5C1D3A9}" presName="Childtext1" presStyleLbl="revTx" presStyleIdx="0" presStyleCnt="5">
        <dgm:presLayoutVars>
          <dgm:chMax val="0"/>
          <dgm:chPref val="0"/>
          <dgm:bulletEnabled val="1"/>
        </dgm:presLayoutVars>
      </dgm:prSet>
      <dgm:spPr/>
    </dgm:pt>
    <dgm:pt modelId="{C1D4FC71-06C0-4BAD-A5E8-39FB613CD3CA}" type="pres">
      <dgm:prSet presAssocID="{7E8181BB-BDFD-4D65-AFD4-1C21C5C1D3A9}" presName="BalanceSpacing" presStyleCnt="0"/>
      <dgm:spPr/>
    </dgm:pt>
    <dgm:pt modelId="{87715DE5-2186-49A4-BEFE-F4B9B80BE8FA}" type="pres">
      <dgm:prSet presAssocID="{7E8181BB-BDFD-4D65-AFD4-1C21C5C1D3A9}" presName="BalanceSpacing1" presStyleCnt="0"/>
      <dgm:spPr/>
    </dgm:pt>
    <dgm:pt modelId="{FD662064-B566-4959-BC16-8CAAA701AFB6}" type="pres">
      <dgm:prSet presAssocID="{11471E87-0763-4FAB-8577-21469F3BD7CC}" presName="Accent1Text" presStyleLbl="node1" presStyleIdx="1" presStyleCnt="10"/>
      <dgm:spPr/>
    </dgm:pt>
    <dgm:pt modelId="{603CAFCA-4DD1-46F7-8303-776664F31669}" type="pres">
      <dgm:prSet presAssocID="{11471E87-0763-4FAB-8577-21469F3BD7CC}" presName="spaceBetweenRectangles" presStyleCnt="0"/>
      <dgm:spPr/>
    </dgm:pt>
    <dgm:pt modelId="{355AD7D4-59F1-4F7F-A62C-8CD2AEFF1C73}" type="pres">
      <dgm:prSet presAssocID="{578FB799-B0A2-40E5-A259-8A7A8FC170C1}" presName="composite" presStyleCnt="0"/>
      <dgm:spPr/>
    </dgm:pt>
    <dgm:pt modelId="{F457ABE6-BA41-41EE-A5AE-749DFBC2B2A3}" type="pres">
      <dgm:prSet presAssocID="{578FB799-B0A2-40E5-A259-8A7A8FC170C1}" presName="Parent1" presStyleLbl="node1" presStyleIdx="2" presStyleCnt="10">
        <dgm:presLayoutVars>
          <dgm:chMax val="1"/>
          <dgm:chPref val="1"/>
          <dgm:bulletEnabled val="1"/>
        </dgm:presLayoutVars>
      </dgm:prSet>
      <dgm:spPr/>
    </dgm:pt>
    <dgm:pt modelId="{14E7C234-8218-48F8-9D34-C939568DBC05}" type="pres">
      <dgm:prSet presAssocID="{578FB799-B0A2-40E5-A259-8A7A8FC170C1}" presName="Childtext1" presStyleLbl="revTx" presStyleIdx="1" presStyleCnt="5">
        <dgm:presLayoutVars>
          <dgm:chMax val="0"/>
          <dgm:chPref val="0"/>
          <dgm:bulletEnabled val="1"/>
        </dgm:presLayoutVars>
      </dgm:prSet>
      <dgm:spPr/>
    </dgm:pt>
    <dgm:pt modelId="{A37B09BF-A2D8-4CF7-ADE7-AEDEAAE9EBC3}" type="pres">
      <dgm:prSet presAssocID="{578FB799-B0A2-40E5-A259-8A7A8FC170C1}" presName="BalanceSpacing" presStyleCnt="0"/>
      <dgm:spPr/>
    </dgm:pt>
    <dgm:pt modelId="{12559F73-3ABB-4939-923E-FB3651619AD9}" type="pres">
      <dgm:prSet presAssocID="{578FB799-B0A2-40E5-A259-8A7A8FC170C1}" presName="BalanceSpacing1" presStyleCnt="0"/>
      <dgm:spPr/>
    </dgm:pt>
    <dgm:pt modelId="{819166A7-7599-4803-B3F7-E43447B5D6E2}" type="pres">
      <dgm:prSet presAssocID="{84F941B9-C0AD-4DAF-A793-D97725137B2D}" presName="Accent1Text" presStyleLbl="node1" presStyleIdx="3" presStyleCnt="10"/>
      <dgm:spPr/>
    </dgm:pt>
    <dgm:pt modelId="{A16BCD95-1AB4-4FEF-A8F8-1BE82F2078DD}" type="pres">
      <dgm:prSet presAssocID="{84F941B9-C0AD-4DAF-A793-D97725137B2D}" presName="spaceBetweenRectangles" presStyleCnt="0"/>
      <dgm:spPr/>
    </dgm:pt>
    <dgm:pt modelId="{9CE255FD-8C30-4BEB-A101-4F2C04A19E0E}" type="pres">
      <dgm:prSet presAssocID="{8AB1DC19-60D9-434C-9E70-8A717BE38470}" presName="composite" presStyleCnt="0"/>
      <dgm:spPr/>
    </dgm:pt>
    <dgm:pt modelId="{6159ABEA-9DB6-4149-B828-CA9282AD0727}" type="pres">
      <dgm:prSet presAssocID="{8AB1DC19-60D9-434C-9E70-8A717BE38470}" presName="Parent1" presStyleLbl="node1" presStyleIdx="4" presStyleCnt="10">
        <dgm:presLayoutVars>
          <dgm:chMax val="1"/>
          <dgm:chPref val="1"/>
          <dgm:bulletEnabled val="1"/>
        </dgm:presLayoutVars>
      </dgm:prSet>
      <dgm:spPr/>
    </dgm:pt>
    <dgm:pt modelId="{7BBD38ED-EF4E-49A8-97A5-EBA8663D208E}" type="pres">
      <dgm:prSet presAssocID="{8AB1DC19-60D9-434C-9E70-8A717BE38470}" presName="Childtext1" presStyleLbl="revTx" presStyleIdx="2" presStyleCnt="5">
        <dgm:presLayoutVars>
          <dgm:chMax val="0"/>
          <dgm:chPref val="0"/>
          <dgm:bulletEnabled val="1"/>
        </dgm:presLayoutVars>
      </dgm:prSet>
      <dgm:spPr/>
    </dgm:pt>
    <dgm:pt modelId="{8637DC66-DEA4-4E99-B1E6-9A758DF3C645}" type="pres">
      <dgm:prSet presAssocID="{8AB1DC19-60D9-434C-9E70-8A717BE38470}" presName="BalanceSpacing" presStyleCnt="0"/>
      <dgm:spPr/>
    </dgm:pt>
    <dgm:pt modelId="{290CBDFB-EE8D-4680-B45C-B57A59188031}" type="pres">
      <dgm:prSet presAssocID="{8AB1DC19-60D9-434C-9E70-8A717BE38470}" presName="BalanceSpacing1" presStyleCnt="0"/>
      <dgm:spPr/>
    </dgm:pt>
    <dgm:pt modelId="{92CA2C6D-75A4-438E-BCD7-2EBE4D4F6A1D}" type="pres">
      <dgm:prSet presAssocID="{9BA4989A-6732-4C4B-BD7B-880BE6BB9C41}" presName="Accent1Text" presStyleLbl="node1" presStyleIdx="5" presStyleCnt="10"/>
      <dgm:spPr/>
    </dgm:pt>
    <dgm:pt modelId="{7ABEE20C-9665-4545-9DC0-C188DE234B89}" type="pres">
      <dgm:prSet presAssocID="{9BA4989A-6732-4C4B-BD7B-880BE6BB9C41}" presName="spaceBetweenRectangles" presStyleCnt="0"/>
      <dgm:spPr/>
    </dgm:pt>
    <dgm:pt modelId="{78995F06-59C9-4E51-8C1E-8E9B7D9E42B2}" type="pres">
      <dgm:prSet presAssocID="{55B213E5-B347-43E7-B5A5-F3ED39F92B95}" presName="composite" presStyleCnt="0"/>
      <dgm:spPr/>
    </dgm:pt>
    <dgm:pt modelId="{4691741E-6504-4E69-9F48-807CD6048FEE}" type="pres">
      <dgm:prSet presAssocID="{55B213E5-B347-43E7-B5A5-F3ED39F92B95}" presName="Parent1" presStyleLbl="node1" presStyleIdx="6" presStyleCnt="10" custLinFactX="-11021" custLinFactY="-69703" custLinFactNeighborX="-100000" custLinFactNeighborY="-100000">
        <dgm:presLayoutVars>
          <dgm:chMax val="1"/>
          <dgm:chPref val="1"/>
          <dgm:bulletEnabled val="1"/>
        </dgm:presLayoutVars>
      </dgm:prSet>
      <dgm:spPr/>
    </dgm:pt>
    <dgm:pt modelId="{EDF528F3-E764-4469-87C1-0B02D6229F04}" type="pres">
      <dgm:prSet presAssocID="{55B213E5-B347-43E7-B5A5-F3ED39F92B95}" presName="Childtext1" presStyleLbl="revTx" presStyleIdx="3" presStyleCnt="5">
        <dgm:presLayoutVars>
          <dgm:chMax val="0"/>
          <dgm:chPref val="0"/>
          <dgm:bulletEnabled val="1"/>
        </dgm:presLayoutVars>
      </dgm:prSet>
      <dgm:spPr/>
    </dgm:pt>
    <dgm:pt modelId="{7EB3EA09-B86D-43F5-90CB-43CED20FAA31}" type="pres">
      <dgm:prSet presAssocID="{55B213E5-B347-43E7-B5A5-F3ED39F92B95}" presName="BalanceSpacing" presStyleCnt="0"/>
      <dgm:spPr/>
    </dgm:pt>
    <dgm:pt modelId="{061B5073-04B1-48A2-A505-DCED57057DB2}" type="pres">
      <dgm:prSet presAssocID="{55B213E5-B347-43E7-B5A5-F3ED39F92B95}" presName="BalanceSpacing1" presStyleCnt="0"/>
      <dgm:spPr/>
    </dgm:pt>
    <dgm:pt modelId="{DF6362B6-4310-40D3-9743-7D98A72423D5}" type="pres">
      <dgm:prSet presAssocID="{F4B819FD-0256-4C97-8A99-777133F77190}" presName="Accent1Text" presStyleLbl="node1" presStyleIdx="7" presStyleCnt="10" custLinFactNeighborX="52193" custLinFactNeighborY="-86583"/>
      <dgm:spPr/>
    </dgm:pt>
    <dgm:pt modelId="{018A0498-42FE-4835-9A36-392A09CD6AC2}" type="pres">
      <dgm:prSet presAssocID="{F4B819FD-0256-4C97-8A99-777133F77190}" presName="spaceBetweenRectangles" presStyleCnt="0"/>
      <dgm:spPr/>
    </dgm:pt>
    <dgm:pt modelId="{29AC1778-07BD-48CD-A5F6-4BF55174A0E6}" type="pres">
      <dgm:prSet presAssocID="{D7D21A88-0981-4C42-AA96-0EF6CE278A72}" presName="composite" presStyleCnt="0"/>
      <dgm:spPr/>
    </dgm:pt>
    <dgm:pt modelId="{45C93158-BC4B-4F9B-B2C9-488E62037CD8}" type="pres">
      <dgm:prSet presAssocID="{D7D21A88-0981-4C42-AA96-0EF6CE278A72}" presName="Parent1" presStyleLbl="node1" presStyleIdx="8" presStyleCnt="10" custLinFactX="10198" custLinFactY="-136611" custLinFactNeighborX="100000" custLinFactNeighborY="-200000">
        <dgm:presLayoutVars>
          <dgm:chMax val="1"/>
          <dgm:chPref val="1"/>
          <dgm:bulletEnabled val="1"/>
        </dgm:presLayoutVars>
      </dgm:prSet>
      <dgm:spPr/>
    </dgm:pt>
    <dgm:pt modelId="{1D4B9D85-B8CD-4D97-94F1-38C448D44DA6}" type="pres">
      <dgm:prSet presAssocID="{D7D21A88-0981-4C42-AA96-0EF6CE278A72}" presName="Childtext1" presStyleLbl="revTx" presStyleIdx="4" presStyleCnt="5">
        <dgm:presLayoutVars>
          <dgm:chMax val="0"/>
          <dgm:chPref val="0"/>
          <dgm:bulletEnabled val="1"/>
        </dgm:presLayoutVars>
      </dgm:prSet>
      <dgm:spPr/>
    </dgm:pt>
    <dgm:pt modelId="{D45A1157-AC60-4C50-A19E-C74ABA022A5B}" type="pres">
      <dgm:prSet presAssocID="{D7D21A88-0981-4C42-AA96-0EF6CE278A72}" presName="BalanceSpacing" presStyleCnt="0"/>
      <dgm:spPr/>
    </dgm:pt>
    <dgm:pt modelId="{994024AD-68A5-43BD-BE3C-7AA61BD7CB90}" type="pres">
      <dgm:prSet presAssocID="{D7D21A88-0981-4C42-AA96-0EF6CE278A72}" presName="BalanceSpacing1" presStyleCnt="0"/>
      <dgm:spPr/>
    </dgm:pt>
    <dgm:pt modelId="{4C9CBCDC-211C-49D7-92BB-A144A0C6A853}" type="pres">
      <dgm:prSet presAssocID="{15A9DFAB-8ACC-44B6-8E4A-664E0CB44C26}" presName="Accent1Text" presStyleLbl="node1" presStyleIdx="9" presStyleCnt="10" custLinFactX="100000" custLinFactY="-100000" custLinFactNeighborX="169655" custLinFactNeighborY="-153751"/>
      <dgm:spPr/>
    </dgm:pt>
  </dgm:ptLst>
  <dgm:cxnLst>
    <dgm:cxn modelId="{DE651000-F6B5-4A15-B345-2A7518DFCD20}" type="presOf" srcId="{11471E87-0763-4FAB-8577-21469F3BD7CC}" destId="{FD662064-B566-4959-BC16-8CAAA701AFB6}" srcOrd="0" destOrd="0" presId="urn:microsoft.com/office/officeart/2008/layout/AlternatingHexagons"/>
    <dgm:cxn modelId="{F9204E0B-6C0F-4EBD-937E-BDBE198227E8}" srcId="{F7BC8743-1CC0-44E5-B855-3132A9BD37BD}" destId="{D7D21A88-0981-4C42-AA96-0EF6CE278A72}" srcOrd="4" destOrd="0" parTransId="{3278D294-D1C6-4657-AEC2-699E42F6C48B}" sibTransId="{15A9DFAB-8ACC-44B6-8E4A-664E0CB44C26}"/>
    <dgm:cxn modelId="{8290721E-752D-48C1-A58D-F86189B7583B}" type="presOf" srcId="{CE8FE83F-BF67-4800-BE1D-D0F148A41E84}" destId="{F8CE4B9C-A86E-414E-B4E4-EA15C918641D}" srcOrd="0" destOrd="0" presId="urn:microsoft.com/office/officeart/2008/layout/AlternatingHexagons"/>
    <dgm:cxn modelId="{A2324D2E-5409-4731-845D-ABA4BF75A939}" srcId="{F7BC8743-1CC0-44E5-B855-3132A9BD37BD}" destId="{7E8181BB-BDFD-4D65-AFD4-1C21C5C1D3A9}" srcOrd="0" destOrd="0" parTransId="{FC114A2A-E66A-4748-B7C5-13D31C756A3C}" sibTransId="{11471E87-0763-4FAB-8577-21469F3BD7CC}"/>
    <dgm:cxn modelId="{FDCFF53F-653B-421F-8228-AFF9FE58F978}" type="presOf" srcId="{4CF19497-37A0-401A-86AA-317D468AFA0D}" destId="{14E7C234-8218-48F8-9D34-C939568DBC05}" srcOrd="0" destOrd="0" presId="urn:microsoft.com/office/officeart/2008/layout/AlternatingHexagons"/>
    <dgm:cxn modelId="{05324E40-2519-4BF3-9A6B-1815ABEC3B04}" srcId="{F7BC8743-1CC0-44E5-B855-3132A9BD37BD}" destId="{8AB1DC19-60D9-434C-9E70-8A717BE38470}" srcOrd="2" destOrd="0" parTransId="{F850EB6E-B324-44B9-9F3A-A881339D86D3}" sibTransId="{9BA4989A-6732-4C4B-BD7B-880BE6BB9C41}"/>
    <dgm:cxn modelId="{20615640-B368-4344-B850-42CD2EA9D456}" type="presOf" srcId="{7E8181BB-BDFD-4D65-AFD4-1C21C5C1D3A9}" destId="{F93FCEB7-FBEB-4887-A162-9F0CB36B58DE}" srcOrd="0" destOrd="0" presId="urn:microsoft.com/office/officeart/2008/layout/AlternatingHexagons"/>
    <dgm:cxn modelId="{22124E59-0FD4-4A2B-886A-5C88BF150688}" srcId="{7E8181BB-BDFD-4D65-AFD4-1C21C5C1D3A9}" destId="{CE8FE83F-BF67-4800-BE1D-D0F148A41E84}" srcOrd="0" destOrd="0" parTransId="{0BE7B50C-3260-428E-8DF5-3A5693565427}" sibTransId="{8FE3FBF6-4D62-4FFF-9205-4C7C4B471494}"/>
    <dgm:cxn modelId="{787CEF5B-BB8E-4E8F-9ACA-0BE6C3D3D339}" type="presOf" srcId="{55B213E5-B347-43E7-B5A5-F3ED39F92B95}" destId="{4691741E-6504-4E69-9F48-807CD6048FEE}" srcOrd="0" destOrd="0" presId="urn:microsoft.com/office/officeart/2008/layout/AlternatingHexagons"/>
    <dgm:cxn modelId="{42A84579-81D2-45BF-A357-8122E5E11DF3}" type="presOf" srcId="{8AB1DC19-60D9-434C-9E70-8A717BE38470}" destId="{6159ABEA-9DB6-4149-B828-CA9282AD0727}" srcOrd="0" destOrd="0" presId="urn:microsoft.com/office/officeart/2008/layout/AlternatingHexagons"/>
    <dgm:cxn modelId="{58E5C079-2C26-4B64-B925-D4E929398145}" type="presOf" srcId="{F4B819FD-0256-4C97-8A99-777133F77190}" destId="{DF6362B6-4310-40D3-9743-7D98A72423D5}" srcOrd="0" destOrd="0" presId="urn:microsoft.com/office/officeart/2008/layout/AlternatingHexagons"/>
    <dgm:cxn modelId="{F5BDE67E-8F3B-45F6-9009-35D5EE031994}" srcId="{F7BC8743-1CC0-44E5-B855-3132A9BD37BD}" destId="{55B213E5-B347-43E7-B5A5-F3ED39F92B95}" srcOrd="3" destOrd="0" parTransId="{0D1C95DD-6003-4576-B4D4-2C217A26411B}" sibTransId="{F4B819FD-0256-4C97-8A99-777133F77190}"/>
    <dgm:cxn modelId="{5B1C31AB-6235-449D-BB87-C0676044C831}" type="presOf" srcId="{DECEDB18-EB84-40EF-BD1D-F6381B5A4ED2}" destId="{7BBD38ED-EF4E-49A8-97A5-EBA8663D208E}" srcOrd="0" destOrd="0" presId="urn:microsoft.com/office/officeart/2008/layout/AlternatingHexagons"/>
    <dgm:cxn modelId="{1B61A0AD-1E44-4147-B367-EE575F07F9A8}" type="presOf" srcId="{15A9DFAB-8ACC-44B6-8E4A-664E0CB44C26}" destId="{4C9CBCDC-211C-49D7-92BB-A144A0C6A853}" srcOrd="0" destOrd="0" presId="urn:microsoft.com/office/officeart/2008/layout/AlternatingHexagons"/>
    <dgm:cxn modelId="{46EDCBAD-5794-434E-B67E-777FD74F28EE}" srcId="{F7BC8743-1CC0-44E5-B855-3132A9BD37BD}" destId="{578FB799-B0A2-40E5-A259-8A7A8FC170C1}" srcOrd="1" destOrd="0" parTransId="{F9E858F3-AE43-461B-94B7-3B0D5F98931A}" sibTransId="{84F941B9-C0AD-4DAF-A793-D97725137B2D}"/>
    <dgm:cxn modelId="{DE2FC6C3-5241-4BD5-9B11-96CE3F9472CD}" type="presOf" srcId="{9BA4989A-6732-4C4B-BD7B-880BE6BB9C41}" destId="{92CA2C6D-75A4-438E-BCD7-2EBE4D4F6A1D}" srcOrd="0" destOrd="0" presId="urn:microsoft.com/office/officeart/2008/layout/AlternatingHexagons"/>
    <dgm:cxn modelId="{4509FACD-2786-44A2-BF6C-209D76EE3D93}" srcId="{8AB1DC19-60D9-434C-9E70-8A717BE38470}" destId="{DECEDB18-EB84-40EF-BD1D-F6381B5A4ED2}" srcOrd="0" destOrd="0" parTransId="{57E8FADA-DFBA-437D-AE67-84D5DD6D565E}" sibTransId="{7E07251C-E144-4B75-88F4-8AFAE73A06C5}"/>
    <dgm:cxn modelId="{776B6ED4-900A-4A48-BE70-80083F673855}" type="presOf" srcId="{F7BC8743-1CC0-44E5-B855-3132A9BD37BD}" destId="{EF646B66-B0B0-446A-9C5A-643F0C98C891}" srcOrd="0" destOrd="0" presId="urn:microsoft.com/office/officeart/2008/layout/AlternatingHexagons"/>
    <dgm:cxn modelId="{ACCF3BD6-F5B0-43B0-9808-64F13D077C7B}" type="presOf" srcId="{84F941B9-C0AD-4DAF-A793-D97725137B2D}" destId="{819166A7-7599-4803-B3F7-E43447B5D6E2}" srcOrd="0" destOrd="0" presId="urn:microsoft.com/office/officeart/2008/layout/AlternatingHexagons"/>
    <dgm:cxn modelId="{35CAD2E8-C8FC-4A71-8D89-337D8EBEE7F3}" type="presOf" srcId="{578FB799-B0A2-40E5-A259-8A7A8FC170C1}" destId="{F457ABE6-BA41-41EE-A5AE-749DFBC2B2A3}" srcOrd="0" destOrd="0" presId="urn:microsoft.com/office/officeart/2008/layout/AlternatingHexagons"/>
    <dgm:cxn modelId="{E1A803EC-828F-4848-A835-73D9EBB428A1}" srcId="{578FB799-B0A2-40E5-A259-8A7A8FC170C1}" destId="{4CF19497-37A0-401A-86AA-317D468AFA0D}" srcOrd="0" destOrd="0" parTransId="{AF9FBF70-110D-4847-91DF-7D0C0BB10EC8}" sibTransId="{01D35864-2E57-4B8C-ACD5-268509AA2DA5}"/>
    <dgm:cxn modelId="{C71A6DF6-673D-44FF-929D-1739DD18BE04}" type="presOf" srcId="{D7D21A88-0981-4C42-AA96-0EF6CE278A72}" destId="{45C93158-BC4B-4F9B-B2C9-488E62037CD8}" srcOrd="0" destOrd="0" presId="urn:microsoft.com/office/officeart/2008/layout/AlternatingHexagons"/>
    <dgm:cxn modelId="{80239C9F-74A8-4E46-B34B-5F18CF1959D3}" type="presParOf" srcId="{EF646B66-B0B0-446A-9C5A-643F0C98C891}" destId="{7459AC72-2E67-4FF5-9B2A-3A4CBFA82644}" srcOrd="0" destOrd="0" presId="urn:microsoft.com/office/officeart/2008/layout/AlternatingHexagons"/>
    <dgm:cxn modelId="{F7564B73-FA0C-46B8-A0D4-827A47DFB897}" type="presParOf" srcId="{7459AC72-2E67-4FF5-9B2A-3A4CBFA82644}" destId="{F93FCEB7-FBEB-4887-A162-9F0CB36B58DE}" srcOrd="0" destOrd="0" presId="urn:microsoft.com/office/officeart/2008/layout/AlternatingHexagons"/>
    <dgm:cxn modelId="{463E4277-E9B3-4169-8741-714C7130AD8F}" type="presParOf" srcId="{7459AC72-2E67-4FF5-9B2A-3A4CBFA82644}" destId="{F8CE4B9C-A86E-414E-B4E4-EA15C918641D}" srcOrd="1" destOrd="0" presId="urn:microsoft.com/office/officeart/2008/layout/AlternatingHexagons"/>
    <dgm:cxn modelId="{8157C825-067D-4948-8F9C-B92218EDF2E3}" type="presParOf" srcId="{7459AC72-2E67-4FF5-9B2A-3A4CBFA82644}" destId="{C1D4FC71-06C0-4BAD-A5E8-39FB613CD3CA}" srcOrd="2" destOrd="0" presId="urn:microsoft.com/office/officeart/2008/layout/AlternatingHexagons"/>
    <dgm:cxn modelId="{1EF13E34-DB91-4334-B372-4348E3701012}" type="presParOf" srcId="{7459AC72-2E67-4FF5-9B2A-3A4CBFA82644}" destId="{87715DE5-2186-49A4-BEFE-F4B9B80BE8FA}" srcOrd="3" destOrd="0" presId="urn:microsoft.com/office/officeart/2008/layout/AlternatingHexagons"/>
    <dgm:cxn modelId="{C4464BEA-9AA5-4214-A252-38360BAD4389}" type="presParOf" srcId="{7459AC72-2E67-4FF5-9B2A-3A4CBFA82644}" destId="{FD662064-B566-4959-BC16-8CAAA701AFB6}" srcOrd="4" destOrd="0" presId="urn:microsoft.com/office/officeart/2008/layout/AlternatingHexagons"/>
    <dgm:cxn modelId="{B46478EE-3DFC-4C11-AB2A-E89ABCD6FC4F}" type="presParOf" srcId="{EF646B66-B0B0-446A-9C5A-643F0C98C891}" destId="{603CAFCA-4DD1-46F7-8303-776664F31669}" srcOrd="1" destOrd="0" presId="urn:microsoft.com/office/officeart/2008/layout/AlternatingHexagons"/>
    <dgm:cxn modelId="{A54B8170-A744-4D93-BFE0-7D67F209699A}" type="presParOf" srcId="{EF646B66-B0B0-446A-9C5A-643F0C98C891}" destId="{355AD7D4-59F1-4F7F-A62C-8CD2AEFF1C73}" srcOrd="2" destOrd="0" presId="urn:microsoft.com/office/officeart/2008/layout/AlternatingHexagons"/>
    <dgm:cxn modelId="{B2D2FB22-2E0A-4CA9-9BD9-FF2FEA5B44D9}" type="presParOf" srcId="{355AD7D4-59F1-4F7F-A62C-8CD2AEFF1C73}" destId="{F457ABE6-BA41-41EE-A5AE-749DFBC2B2A3}" srcOrd="0" destOrd="0" presId="urn:microsoft.com/office/officeart/2008/layout/AlternatingHexagons"/>
    <dgm:cxn modelId="{2DF6C195-6DDA-45B5-9849-2800483956E3}" type="presParOf" srcId="{355AD7D4-59F1-4F7F-A62C-8CD2AEFF1C73}" destId="{14E7C234-8218-48F8-9D34-C939568DBC05}" srcOrd="1" destOrd="0" presId="urn:microsoft.com/office/officeart/2008/layout/AlternatingHexagons"/>
    <dgm:cxn modelId="{97906A6A-4D71-4A58-847A-E7495FA15C4D}" type="presParOf" srcId="{355AD7D4-59F1-4F7F-A62C-8CD2AEFF1C73}" destId="{A37B09BF-A2D8-4CF7-ADE7-AEDEAAE9EBC3}" srcOrd="2" destOrd="0" presId="urn:microsoft.com/office/officeart/2008/layout/AlternatingHexagons"/>
    <dgm:cxn modelId="{045AD60D-C735-4F98-A22A-87408E73A690}" type="presParOf" srcId="{355AD7D4-59F1-4F7F-A62C-8CD2AEFF1C73}" destId="{12559F73-3ABB-4939-923E-FB3651619AD9}" srcOrd="3" destOrd="0" presId="urn:microsoft.com/office/officeart/2008/layout/AlternatingHexagons"/>
    <dgm:cxn modelId="{6300627C-5CD9-4525-AD00-61803E5BA45A}" type="presParOf" srcId="{355AD7D4-59F1-4F7F-A62C-8CD2AEFF1C73}" destId="{819166A7-7599-4803-B3F7-E43447B5D6E2}" srcOrd="4" destOrd="0" presId="urn:microsoft.com/office/officeart/2008/layout/AlternatingHexagons"/>
    <dgm:cxn modelId="{744DF39A-BA61-44D3-84E8-C5C5C362F13A}" type="presParOf" srcId="{EF646B66-B0B0-446A-9C5A-643F0C98C891}" destId="{A16BCD95-1AB4-4FEF-A8F8-1BE82F2078DD}" srcOrd="3" destOrd="0" presId="urn:microsoft.com/office/officeart/2008/layout/AlternatingHexagons"/>
    <dgm:cxn modelId="{09B2B23F-7F43-42EE-802A-E03B7E66C533}" type="presParOf" srcId="{EF646B66-B0B0-446A-9C5A-643F0C98C891}" destId="{9CE255FD-8C30-4BEB-A101-4F2C04A19E0E}" srcOrd="4" destOrd="0" presId="urn:microsoft.com/office/officeart/2008/layout/AlternatingHexagons"/>
    <dgm:cxn modelId="{5B14FA4A-4836-4D7F-AB4B-C9B74FCB9C2C}" type="presParOf" srcId="{9CE255FD-8C30-4BEB-A101-4F2C04A19E0E}" destId="{6159ABEA-9DB6-4149-B828-CA9282AD0727}" srcOrd="0" destOrd="0" presId="urn:microsoft.com/office/officeart/2008/layout/AlternatingHexagons"/>
    <dgm:cxn modelId="{F4EF1BEB-0F2E-438C-9B25-4557CD763C82}" type="presParOf" srcId="{9CE255FD-8C30-4BEB-A101-4F2C04A19E0E}" destId="{7BBD38ED-EF4E-49A8-97A5-EBA8663D208E}" srcOrd="1" destOrd="0" presId="urn:microsoft.com/office/officeart/2008/layout/AlternatingHexagons"/>
    <dgm:cxn modelId="{1E591FB3-C44B-479A-BFC2-AFD9D4E45CC4}" type="presParOf" srcId="{9CE255FD-8C30-4BEB-A101-4F2C04A19E0E}" destId="{8637DC66-DEA4-4E99-B1E6-9A758DF3C645}" srcOrd="2" destOrd="0" presId="urn:microsoft.com/office/officeart/2008/layout/AlternatingHexagons"/>
    <dgm:cxn modelId="{09154B94-3ED5-4DF2-A047-E719438C32FB}" type="presParOf" srcId="{9CE255FD-8C30-4BEB-A101-4F2C04A19E0E}" destId="{290CBDFB-EE8D-4680-B45C-B57A59188031}" srcOrd="3" destOrd="0" presId="urn:microsoft.com/office/officeart/2008/layout/AlternatingHexagons"/>
    <dgm:cxn modelId="{E6A44106-3E5E-4BBA-9FFB-C4AEF20C703A}" type="presParOf" srcId="{9CE255FD-8C30-4BEB-A101-4F2C04A19E0E}" destId="{92CA2C6D-75A4-438E-BCD7-2EBE4D4F6A1D}" srcOrd="4" destOrd="0" presId="urn:microsoft.com/office/officeart/2008/layout/AlternatingHexagons"/>
    <dgm:cxn modelId="{80C8C73C-5892-4CBC-8A8D-6922E733B07A}" type="presParOf" srcId="{EF646B66-B0B0-446A-9C5A-643F0C98C891}" destId="{7ABEE20C-9665-4545-9DC0-C188DE234B89}" srcOrd="5" destOrd="0" presId="urn:microsoft.com/office/officeart/2008/layout/AlternatingHexagons"/>
    <dgm:cxn modelId="{ED91E9FA-72CC-47B7-8864-A631C2CEC1DF}" type="presParOf" srcId="{EF646B66-B0B0-446A-9C5A-643F0C98C891}" destId="{78995F06-59C9-4E51-8C1E-8E9B7D9E42B2}" srcOrd="6" destOrd="0" presId="urn:microsoft.com/office/officeart/2008/layout/AlternatingHexagons"/>
    <dgm:cxn modelId="{96A1C9CC-517C-4CC8-BC94-3A3B22C2CA42}" type="presParOf" srcId="{78995F06-59C9-4E51-8C1E-8E9B7D9E42B2}" destId="{4691741E-6504-4E69-9F48-807CD6048FEE}" srcOrd="0" destOrd="0" presId="urn:microsoft.com/office/officeart/2008/layout/AlternatingHexagons"/>
    <dgm:cxn modelId="{96C13FC3-6A20-4CDE-8086-CE231B0A623A}" type="presParOf" srcId="{78995F06-59C9-4E51-8C1E-8E9B7D9E42B2}" destId="{EDF528F3-E764-4469-87C1-0B02D6229F04}" srcOrd="1" destOrd="0" presId="urn:microsoft.com/office/officeart/2008/layout/AlternatingHexagons"/>
    <dgm:cxn modelId="{D58E5231-01F7-48F1-BBC9-36A296B87A97}" type="presParOf" srcId="{78995F06-59C9-4E51-8C1E-8E9B7D9E42B2}" destId="{7EB3EA09-B86D-43F5-90CB-43CED20FAA31}" srcOrd="2" destOrd="0" presId="urn:microsoft.com/office/officeart/2008/layout/AlternatingHexagons"/>
    <dgm:cxn modelId="{5F316F70-CE95-4651-8337-80B46C190B04}" type="presParOf" srcId="{78995F06-59C9-4E51-8C1E-8E9B7D9E42B2}" destId="{061B5073-04B1-48A2-A505-DCED57057DB2}" srcOrd="3" destOrd="0" presId="urn:microsoft.com/office/officeart/2008/layout/AlternatingHexagons"/>
    <dgm:cxn modelId="{3C7E371C-776E-4578-B5CA-C288D642E400}" type="presParOf" srcId="{78995F06-59C9-4E51-8C1E-8E9B7D9E42B2}" destId="{DF6362B6-4310-40D3-9743-7D98A72423D5}" srcOrd="4" destOrd="0" presId="urn:microsoft.com/office/officeart/2008/layout/AlternatingHexagons"/>
    <dgm:cxn modelId="{F6836FFE-43B4-4D96-A682-6ECE14E1B0AA}" type="presParOf" srcId="{EF646B66-B0B0-446A-9C5A-643F0C98C891}" destId="{018A0498-42FE-4835-9A36-392A09CD6AC2}" srcOrd="7" destOrd="0" presId="urn:microsoft.com/office/officeart/2008/layout/AlternatingHexagons"/>
    <dgm:cxn modelId="{E1FAC410-E5CC-47DC-B03E-D574ECEAE2BC}" type="presParOf" srcId="{EF646B66-B0B0-446A-9C5A-643F0C98C891}" destId="{29AC1778-07BD-48CD-A5F6-4BF55174A0E6}" srcOrd="8" destOrd="0" presId="urn:microsoft.com/office/officeart/2008/layout/AlternatingHexagons"/>
    <dgm:cxn modelId="{09CB477E-BBFA-4B9E-931D-6B43A52DD4F5}" type="presParOf" srcId="{29AC1778-07BD-48CD-A5F6-4BF55174A0E6}" destId="{45C93158-BC4B-4F9B-B2C9-488E62037CD8}" srcOrd="0" destOrd="0" presId="urn:microsoft.com/office/officeart/2008/layout/AlternatingHexagons"/>
    <dgm:cxn modelId="{0C30D959-9C83-4204-91B5-5ACB61789325}" type="presParOf" srcId="{29AC1778-07BD-48CD-A5F6-4BF55174A0E6}" destId="{1D4B9D85-B8CD-4D97-94F1-38C448D44DA6}" srcOrd="1" destOrd="0" presId="urn:microsoft.com/office/officeart/2008/layout/AlternatingHexagons"/>
    <dgm:cxn modelId="{D3680A2B-050D-4753-B757-FBED10D9974A}" type="presParOf" srcId="{29AC1778-07BD-48CD-A5F6-4BF55174A0E6}" destId="{D45A1157-AC60-4C50-A19E-C74ABA022A5B}" srcOrd="2" destOrd="0" presId="urn:microsoft.com/office/officeart/2008/layout/AlternatingHexagons"/>
    <dgm:cxn modelId="{B1564D28-70E0-425C-87FC-5AFE17F94A91}" type="presParOf" srcId="{29AC1778-07BD-48CD-A5F6-4BF55174A0E6}" destId="{994024AD-68A5-43BD-BE3C-7AA61BD7CB90}" srcOrd="3" destOrd="0" presId="urn:microsoft.com/office/officeart/2008/layout/AlternatingHexagons"/>
    <dgm:cxn modelId="{395E0B62-E74C-4092-B83A-F284F7DC899D}" type="presParOf" srcId="{29AC1778-07BD-48CD-A5F6-4BF55174A0E6}" destId="{4C9CBCDC-211C-49D7-92BB-A144A0C6A853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3FCEB7-FBEB-4887-A162-9F0CB36B58DE}">
      <dsp:nvSpPr>
        <dsp:cNvPr id="0" name=""/>
        <dsp:cNvSpPr/>
      </dsp:nvSpPr>
      <dsp:spPr>
        <a:xfrm rot="5400000">
          <a:off x="5674732" y="125315"/>
          <a:ext cx="1879102" cy="1634818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afety</a:t>
          </a:r>
          <a:r>
            <a:rPr lang="en-US" sz="1500" kern="1200" dirty="0"/>
            <a:t> </a:t>
          </a:r>
          <a:endParaRPr lang="ar-SA" sz="1500" kern="1200" dirty="0"/>
        </a:p>
      </dsp:txBody>
      <dsp:txXfrm rot="-5400000">
        <a:off x="6051633" y="296000"/>
        <a:ext cx="1125300" cy="1293448"/>
      </dsp:txXfrm>
    </dsp:sp>
    <dsp:sp modelId="{F8CE4B9C-A86E-414E-B4E4-EA15C918641D}">
      <dsp:nvSpPr>
        <dsp:cNvPr id="0" name=""/>
        <dsp:cNvSpPr/>
      </dsp:nvSpPr>
      <dsp:spPr>
        <a:xfrm>
          <a:off x="7481300" y="378993"/>
          <a:ext cx="2097078" cy="11274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l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ar-SA" sz="3600" kern="1200" dirty="0"/>
        </a:p>
      </dsp:txBody>
      <dsp:txXfrm>
        <a:off x="7481300" y="378993"/>
        <a:ext cx="2097078" cy="1127461"/>
      </dsp:txXfrm>
    </dsp:sp>
    <dsp:sp modelId="{FD662064-B566-4959-BC16-8CAAA701AFB6}">
      <dsp:nvSpPr>
        <dsp:cNvPr id="0" name=""/>
        <dsp:cNvSpPr/>
      </dsp:nvSpPr>
      <dsp:spPr>
        <a:xfrm rot="5400000">
          <a:off x="3909127" y="125315"/>
          <a:ext cx="1879102" cy="1634818"/>
        </a:xfrm>
        <a:prstGeom prst="hexagon">
          <a:avLst>
            <a:gd name="adj" fmla="val 25000"/>
            <a:gd name="vf" fmla="val 115470"/>
          </a:avLst>
        </a:prstGeom>
        <a:solidFill>
          <a:srgbClr val="03A5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Equity</a:t>
          </a:r>
          <a:endParaRPr lang="ar-SA" sz="1800" kern="1200" dirty="0"/>
        </a:p>
      </dsp:txBody>
      <dsp:txXfrm rot="-5400000">
        <a:off x="4286028" y="296000"/>
        <a:ext cx="1125300" cy="1293448"/>
      </dsp:txXfrm>
    </dsp:sp>
    <dsp:sp modelId="{F457ABE6-BA41-41EE-A5AE-749DFBC2B2A3}">
      <dsp:nvSpPr>
        <dsp:cNvPr id="0" name=""/>
        <dsp:cNvSpPr/>
      </dsp:nvSpPr>
      <dsp:spPr>
        <a:xfrm rot="5400000">
          <a:off x="4788547" y="1720297"/>
          <a:ext cx="1879102" cy="1634818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Time constrains</a:t>
          </a:r>
          <a:endParaRPr lang="ar-SA" sz="1600" kern="1200" dirty="0"/>
        </a:p>
      </dsp:txBody>
      <dsp:txXfrm rot="-5400000">
        <a:off x="5165448" y="1890982"/>
        <a:ext cx="1125300" cy="1293448"/>
      </dsp:txXfrm>
    </dsp:sp>
    <dsp:sp modelId="{14E7C234-8218-48F8-9D34-C939568DBC05}">
      <dsp:nvSpPr>
        <dsp:cNvPr id="0" name=""/>
        <dsp:cNvSpPr/>
      </dsp:nvSpPr>
      <dsp:spPr>
        <a:xfrm>
          <a:off x="2813611" y="1973975"/>
          <a:ext cx="2029430" cy="11274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ar-SA" sz="3600" kern="1200" dirty="0"/>
        </a:p>
      </dsp:txBody>
      <dsp:txXfrm>
        <a:off x="2813611" y="1973975"/>
        <a:ext cx="2029430" cy="1127461"/>
      </dsp:txXfrm>
    </dsp:sp>
    <dsp:sp modelId="{819166A7-7599-4803-B3F7-E43447B5D6E2}">
      <dsp:nvSpPr>
        <dsp:cNvPr id="0" name=""/>
        <dsp:cNvSpPr/>
      </dsp:nvSpPr>
      <dsp:spPr>
        <a:xfrm rot="5400000">
          <a:off x="6554151" y="1720297"/>
          <a:ext cx="1879102" cy="1634818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Efficiency</a:t>
          </a:r>
          <a:r>
            <a:rPr lang="en-US" sz="1600" kern="1200" dirty="0"/>
            <a:t> </a:t>
          </a:r>
          <a:endParaRPr lang="ar-SA" sz="1600" kern="1200" dirty="0"/>
        </a:p>
      </dsp:txBody>
      <dsp:txXfrm rot="-5400000">
        <a:off x="6931052" y="1890982"/>
        <a:ext cx="1125300" cy="1293448"/>
      </dsp:txXfrm>
    </dsp:sp>
    <dsp:sp modelId="{6159ABEA-9DB6-4149-B828-CA9282AD0727}">
      <dsp:nvSpPr>
        <dsp:cNvPr id="0" name=""/>
        <dsp:cNvSpPr/>
      </dsp:nvSpPr>
      <dsp:spPr>
        <a:xfrm rot="5400000">
          <a:off x="5674732" y="3315279"/>
          <a:ext cx="1879102" cy="1634818"/>
        </a:xfrm>
        <a:prstGeom prst="hexagon">
          <a:avLst>
            <a:gd name="adj" fmla="val 25000"/>
            <a:gd name="vf" fmla="val 115470"/>
          </a:avLst>
        </a:prstGeom>
        <a:solidFill>
          <a:srgbClr val="03A5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Timeliness</a:t>
          </a:r>
          <a:r>
            <a:rPr lang="en-US" sz="1600" kern="1200" dirty="0"/>
            <a:t> </a:t>
          </a:r>
          <a:endParaRPr lang="ar-SA" sz="1600" kern="1200" dirty="0"/>
        </a:p>
      </dsp:txBody>
      <dsp:txXfrm rot="-5400000">
        <a:off x="6051633" y="3485964"/>
        <a:ext cx="1125300" cy="1293448"/>
      </dsp:txXfrm>
    </dsp:sp>
    <dsp:sp modelId="{7BBD38ED-EF4E-49A8-97A5-EBA8663D208E}">
      <dsp:nvSpPr>
        <dsp:cNvPr id="0" name=""/>
        <dsp:cNvSpPr/>
      </dsp:nvSpPr>
      <dsp:spPr>
        <a:xfrm>
          <a:off x="7481300" y="3568957"/>
          <a:ext cx="2097078" cy="11274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l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ar-SA" sz="3600" kern="1200" dirty="0"/>
        </a:p>
      </dsp:txBody>
      <dsp:txXfrm>
        <a:off x="7481300" y="3568957"/>
        <a:ext cx="2097078" cy="1127461"/>
      </dsp:txXfrm>
    </dsp:sp>
    <dsp:sp modelId="{92CA2C6D-75A4-438E-BCD7-2EBE4D4F6A1D}">
      <dsp:nvSpPr>
        <dsp:cNvPr id="0" name=""/>
        <dsp:cNvSpPr/>
      </dsp:nvSpPr>
      <dsp:spPr>
        <a:xfrm rot="5400000">
          <a:off x="3909127" y="3315279"/>
          <a:ext cx="1879102" cy="1634818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Patient centricity</a:t>
          </a:r>
          <a:endParaRPr lang="ar-SA" sz="1800" kern="1200" dirty="0"/>
        </a:p>
      </dsp:txBody>
      <dsp:txXfrm rot="-5400000">
        <a:off x="4286028" y="3485964"/>
        <a:ext cx="1125300" cy="1293448"/>
      </dsp:txXfrm>
    </dsp:sp>
    <dsp:sp modelId="{4691741E-6504-4E69-9F48-807CD6048FEE}">
      <dsp:nvSpPr>
        <dsp:cNvPr id="0" name=""/>
        <dsp:cNvSpPr/>
      </dsp:nvSpPr>
      <dsp:spPr>
        <a:xfrm rot="5400000">
          <a:off x="2973555" y="1721368"/>
          <a:ext cx="1879102" cy="1634818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Effectiveness </a:t>
          </a:r>
          <a:endParaRPr lang="ar-SA" sz="1800" kern="1200" dirty="0"/>
        </a:p>
      </dsp:txBody>
      <dsp:txXfrm rot="-5400000">
        <a:off x="3350456" y="1892053"/>
        <a:ext cx="1125300" cy="1293448"/>
      </dsp:txXfrm>
    </dsp:sp>
    <dsp:sp modelId="{EDF528F3-E764-4469-87C1-0B02D6229F04}">
      <dsp:nvSpPr>
        <dsp:cNvPr id="0" name=""/>
        <dsp:cNvSpPr/>
      </dsp:nvSpPr>
      <dsp:spPr>
        <a:xfrm>
          <a:off x="2813611" y="5163939"/>
          <a:ext cx="2029430" cy="11274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F6362B6-4310-40D3-9743-7D98A72423D5}">
      <dsp:nvSpPr>
        <dsp:cNvPr id="0" name=""/>
        <dsp:cNvSpPr/>
      </dsp:nvSpPr>
      <dsp:spPr>
        <a:xfrm rot="5400000">
          <a:off x="4791310" y="1745721"/>
          <a:ext cx="1879102" cy="1634818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3779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/>
            <a:t>people</a:t>
          </a:r>
          <a:endParaRPr lang="ar-SA" sz="3100" kern="1200" dirty="0"/>
        </a:p>
      </dsp:txBody>
      <dsp:txXfrm rot="-5400000">
        <a:off x="5168211" y="1916406"/>
        <a:ext cx="1125300" cy="12934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3FCEB7-FBEB-4887-A162-9F0CB36B58DE}">
      <dsp:nvSpPr>
        <dsp:cNvPr id="0" name=""/>
        <dsp:cNvSpPr/>
      </dsp:nvSpPr>
      <dsp:spPr>
        <a:xfrm rot="5400000">
          <a:off x="5910357" y="125452"/>
          <a:ext cx="1861948" cy="1619895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Fragmented delivery of care</a:t>
          </a:r>
          <a:endParaRPr lang="ar-SA" sz="1500" kern="1200" dirty="0"/>
        </a:p>
      </dsp:txBody>
      <dsp:txXfrm rot="-5400000">
        <a:off x="6283817" y="294580"/>
        <a:ext cx="1115027" cy="1281640"/>
      </dsp:txXfrm>
    </dsp:sp>
    <dsp:sp modelId="{F8CE4B9C-A86E-414E-B4E4-EA15C918641D}">
      <dsp:nvSpPr>
        <dsp:cNvPr id="0" name=""/>
        <dsp:cNvSpPr/>
      </dsp:nvSpPr>
      <dsp:spPr>
        <a:xfrm>
          <a:off x="7700435" y="376815"/>
          <a:ext cx="2077935" cy="11171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ar-SA" sz="1700" kern="1200"/>
        </a:p>
      </dsp:txBody>
      <dsp:txXfrm>
        <a:off x="7700435" y="376815"/>
        <a:ext cx="2077935" cy="1117169"/>
      </dsp:txXfrm>
    </dsp:sp>
    <dsp:sp modelId="{FD662064-B566-4959-BC16-8CAAA701AFB6}">
      <dsp:nvSpPr>
        <dsp:cNvPr id="0" name=""/>
        <dsp:cNvSpPr/>
      </dsp:nvSpPr>
      <dsp:spPr>
        <a:xfrm rot="5400000">
          <a:off x="4160870" y="125452"/>
          <a:ext cx="1861948" cy="1619895"/>
        </a:xfrm>
        <a:prstGeom prst="hexagon">
          <a:avLst>
            <a:gd name="adj" fmla="val 25000"/>
            <a:gd name="vf" fmla="val 115470"/>
          </a:avLst>
        </a:prstGeom>
        <a:solidFill>
          <a:srgbClr val="03A5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Multifaceted healthcare system</a:t>
          </a:r>
          <a:endParaRPr lang="ar-SA" sz="1600" kern="1200" dirty="0"/>
        </a:p>
      </dsp:txBody>
      <dsp:txXfrm rot="-5400000">
        <a:off x="4534330" y="294580"/>
        <a:ext cx="1115027" cy="1281640"/>
      </dsp:txXfrm>
    </dsp:sp>
    <dsp:sp modelId="{F457ABE6-BA41-41EE-A5AE-749DFBC2B2A3}">
      <dsp:nvSpPr>
        <dsp:cNvPr id="0" name=""/>
        <dsp:cNvSpPr/>
      </dsp:nvSpPr>
      <dsp:spPr>
        <a:xfrm rot="5400000">
          <a:off x="5032262" y="1705874"/>
          <a:ext cx="1861948" cy="1619895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Time constrains</a:t>
          </a:r>
          <a:endParaRPr lang="ar-SA" sz="1600" kern="1200" dirty="0"/>
        </a:p>
      </dsp:txBody>
      <dsp:txXfrm rot="-5400000">
        <a:off x="5405722" y="1875002"/>
        <a:ext cx="1115027" cy="1281640"/>
      </dsp:txXfrm>
    </dsp:sp>
    <dsp:sp modelId="{14E7C234-8218-48F8-9D34-C939568DBC05}">
      <dsp:nvSpPr>
        <dsp:cNvPr id="0" name=""/>
        <dsp:cNvSpPr/>
      </dsp:nvSpPr>
      <dsp:spPr>
        <a:xfrm>
          <a:off x="3075353" y="1957238"/>
          <a:ext cx="2010904" cy="11171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ar-SA" sz="1700" kern="1200" dirty="0"/>
        </a:p>
      </dsp:txBody>
      <dsp:txXfrm>
        <a:off x="3075353" y="1957238"/>
        <a:ext cx="2010904" cy="1117169"/>
      </dsp:txXfrm>
    </dsp:sp>
    <dsp:sp modelId="{819166A7-7599-4803-B3F7-E43447B5D6E2}">
      <dsp:nvSpPr>
        <dsp:cNvPr id="0" name=""/>
        <dsp:cNvSpPr/>
      </dsp:nvSpPr>
      <dsp:spPr>
        <a:xfrm rot="5400000">
          <a:off x="6781749" y="1705874"/>
          <a:ext cx="1861948" cy="1619895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Political buy in </a:t>
          </a:r>
          <a:endParaRPr lang="ar-SA" sz="1600" kern="1200" dirty="0"/>
        </a:p>
      </dsp:txBody>
      <dsp:txXfrm rot="-5400000">
        <a:off x="7155209" y="1875002"/>
        <a:ext cx="1115027" cy="1281640"/>
      </dsp:txXfrm>
    </dsp:sp>
    <dsp:sp modelId="{6159ABEA-9DB6-4149-B828-CA9282AD0727}">
      <dsp:nvSpPr>
        <dsp:cNvPr id="0" name=""/>
        <dsp:cNvSpPr/>
      </dsp:nvSpPr>
      <dsp:spPr>
        <a:xfrm rot="5400000">
          <a:off x="5910357" y="3286297"/>
          <a:ext cx="1861948" cy="1619895"/>
        </a:xfrm>
        <a:prstGeom prst="hexagon">
          <a:avLst>
            <a:gd name="adj" fmla="val 25000"/>
            <a:gd name="vf" fmla="val 115470"/>
          </a:avLst>
        </a:prstGeom>
        <a:solidFill>
          <a:srgbClr val="03A5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Limited resources</a:t>
          </a:r>
          <a:endParaRPr lang="ar-SA" sz="1600" kern="1200" dirty="0"/>
        </a:p>
      </dsp:txBody>
      <dsp:txXfrm rot="-5400000">
        <a:off x="6283817" y="3455425"/>
        <a:ext cx="1115027" cy="1281640"/>
      </dsp:txXfrm>
    </dsp:sp>
    <dsp:sp modelId="{7BBD38ED-EF4E-49A8-97A5-EBA8663D208E}">
      <dsp:nvSpPr>
        <dsp:cNvPr id="0" name=""/>
        <dsp:cNvSpPr/>
      </dsp:nvSpPr>
      <dsp:spPr>
        <a:xfrm>
          <a:off x="7700435" y="3537660"/>
          <a:ext cx="2077935" cy="11171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ar-SA" sz="1700" kern="1200"/>
        </a:p>
      </dsp:txBody>
      <dsp:txXfrm>
        <a:off x="7700435" y="3537660"/>
        <a:ext cx="2077935" cy="1117169"/>
      </dsp:txXfrm>
    </dsp:sp>
    <dsp:sp modelId="{92CA2C6D-75A4-438E-BCD7-2EBE4D4F6A1D}">
      <dsp:nvSpPr>
        <dsp:cNvPr id="0" name=""/>
        <dsp:cNvSpPr/>
      </dsp:nvSpPr>
      <dsp:spPr>
        <a:xfrm rot="5400000">
          <a:off x="4160870" y="3286297"/>
          <a:ext cx="1861948" cy="1619895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Policy and regulatory environment</a:t>
          </a:r>
          <a:endParaRPr lang="ar-SA" sz="1600" kern="1200" dirty="0"/>
        </a:p>
      </dsp:txBody>
      <dsp:txXfrm rot="-5400000">
        <a:off x="4534330" y="3455425"/>
        <a:ext cx="1115027" cy="1281640"/>
      </dsp:txXfrm>
    </dsp:sp>
    <dsp:sp modelId="{4691741E-6504-4E69-9F48-807CD6048FEE}">
      <dsp:nvSpPr>
        <dsp:cNvPr id="0" name=""/>
        <dsp:cNvSpPr/>
      </dsp:nvSpPr>
      <dsp:spPr>
        <a:xfrm rot="5400000">
          <a:off x="3233837" y="1706936"/>
          <a:ext cx="1861948" cy="1619895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Increasing patient complexity</a:t>
          </a:r>
          <a:endParaRPr lang="ar-SA" sz="1700" kern="1200" dirty="0"/>
        </a:p>
      </dsp:txBody>
      <dsp:txXfrm rot="-5400000">
        <a:off x="3607297" y="1876064"/>
        <a:ext cx="1115027" cy="1281640"/>
      </dsp:txXfrm>
    </dsp:sp>
    <dsp:sp modelId="{EDF528F3-E764-4469-87C1-0B02D6229F04}">
      <dsp:nvSpPr>
        <dsp:cNvPr id="0" name=""/>
        <dsp:cNvSpPr/>
      </dsp:nvSpPr>
      <dsp:spPr>
        <a:xfrm>
          <a:off x="3075353" y="5118082"/>
          <a:ext cx="2010904" cy="11171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F6362B6-4310-40D3-9743-7D98A72423D5}">
      <dsp:nvSpPr>
        <dsp:cNvPr id="0" name=""/>
        <dsp:cNvSpPr/>
      </dsp:nvSpPr>
      <dsp:spPr>
        <a:xfrm rot="5400000">
          <a:off x="7627221" y="3254588"/>
          <a:ext cx="1861948" cy="1619895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Social determinants</a:t>
          </a:r>
          <a:endParaRPr lang="ar-SA" sz="1600" kern="1200" dirty="0"/>
        </a:p>
      </dsp:txBody>
      <dsp:txXfrm rot="-5400000">
        <a:off x="8000681" y="3423716"/>
        <a:ext cx="1115027" cy="1281640"/>
      </dsp:txXfrm>
    </dsp:sp>
    <dsp:sp modelId="{45C93158-BC4B-4F9B-B2C9-488E62037CD8}">
      <dsp:nvSpPr>
        <dsp:cNvPr id="0" name=""/>
        <dsp:cNvSpPr/>
      </dsp:nvSpPr>
      <dsp:spPr>
        <a:xfrm rot="5400000">
          <a:off x="7695449" y="179616"/>
          <a:ext cx="1861948" cy="1619895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Data </a:t>
          </a:r>
          <a:r>
            <a:rPr lang="en-US" sz="1400" kern="1200" dirty="0"/>
            <a:t>management </a:t>
          </a:r>
          <a:r>
            <a:rPr lang="en-US" sz="1500" kern="1200" dirty="0"/>
            <a:t>and analytics</a:t>
          </a:r>
          <a:endParaRPr lang="ar-SA" sz="1500" kern="1200" dirty="0"/>
        </a:p>
      </dsp:txBody>
      <dsp:txXfrm rot="-5400000">
        <a:off x="8068909" y="348744"/>
        <a:ext cx="1115027" cy="1281640"/>
      </dsp:txXfrm>
    </dsp:sp>
    <dsp:sp modelId="{1D4B9D85-B8CD-4D97-94F1-38C448D44DA6}">
      <dsp:nvSpPr>
        <dsp:cNvPr id="0" name=""/>
        <dsp:cNvSpPr/>
      </dsp:nvSpPr>
      <dsp:spPr>
        <a:xfrm>
          <a:off x="7700435" y="6698504"/>
          <a:ext cx="2077935" cy="11171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9CBCDC-211C-49D7-92BB-A144A0C6A853}">
      <dsp:nvSpPr>
        <dsp:cNvPr id="0" name=""/>
        <dsp:cNvSpPr/>
      </dsp:nvSpPr>
      <dsp:spPr>
        <a:xfrm rot="5400000">
          <a:off x="8528999" y="1722427"/>
          <a:ext cx="1861948" cy="1619895"/>
        </a:xfrm>
        <a:prstGeom prst="hexagon">
          <a:avLst>
            <a:gd name="adj" fmla="val 25000"/>
            <a:gd name="vf" fmla="val 115470"/>
          </a:avLst>
        </a:prstGeom>
        <a:solidFill>
          <a:srgbClr val="03A5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hanging healthcare landscape</a:t>
          </a:r>
          <a:endParaRPr lang="ar-SA" sz="1600" kern="1200" dirty="0"/>
        </a:p>
      </dsp:txBody>
      <dsp:txXfrm rot="-5400000">
        <a:off x="8902459" y="1891555"/>
        <a:ext cx="1115027" cy="128164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3FCEB7-FBEB-4887-A162-9F0CB36B58DE}">
      <dsp:nvSpPr>
        <dsp:cNvPr id="0" name=""/>
        <dsp:cNvSpPr/>
      </dsp:nvSpPr>
      <dsp:spPr>
        <a:xfrm rot="5400000">
          <a:off x="5910357" y="125452"/>
          <a:ext cx="1861948" cy="1619895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Data driven decisions</a:t>
          </a:r>
          <a:endParaRPr lang="ar-SA" sz="1600" kern="1200" dirty="0"/>
        </a:p>
      </dsp:txBody>
      <dsp:txXfrm rot="-5400000">
        <a:off x="6283817" y="294580"/>
        <a:ext cx="1115027" cy="1281640"/>
      </dsp:txXfrm>
    </dsp:sp>
    <dsp:sp modelId="{F8CE4B9C-A86E-414E-B4E4-EA15C918641D}">
      <dsp:nvSpPr>
        <dsp:cNvPr id="0" name=""/>
        <dsp:cNvSpPr/>
      </dsp:nvSpPr>
      <dsp:spPr>
        <a:xfrm>
          <a:off x="7700435" y="376815"/>
          <a:ext cx="2077935" cy="11171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ar-SA" sz="1500" kern="1200"/>
        </a:p>
      </dsp:txBody>
      <dsp:txXfrm>
        <a:off x="7700435" y="376815"/>
        <a:ext cx="2077935" cy="1117169"/>
      </dsp:txXfrm>
    </dsp:sp>
    <dsp:sp modelId="{FD662064-B566-4959-BC16-8CAAA701AFB6}">
      <dsp:nvSpPr>
        <dsp:cNvPr id="0" name=""/>
        <dsp:cNvSpPr/>
      </dsp:nvSpPr>
      <dsp:spPr>
        <a:xfrm rot="5400000">
          <a:off x="4160870" y="125452"/>
          <a:ext cx="1861948" cy="1619895"/>
        </a:xfrm>
        <a:prstGeom prst="hexagon">
          <a:avLst>
            <a:gd name="adj" fmla="val 25000"/>
            <a:gd name="vf" fmla="val 115470"/>
          </a:avLst>
        </a:prstGeom>
        <a:solidFill>
          <a:srgbClr val="03A5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Integrated approach to problems</a:t>
          </a:r>
          <a:endParaRPr lang="ar-SA" sz="1600" kern="1200" dirty="0"/>
        </a:p>
      </dsp:txBody>
      <dsp:txXfrm rot="-5400000">
        <a:off x="4534330" y="294580"/>
        <a:ext cx="1115027" cy="1281640"/>
      </dsp:txXfrm>
    </dsp:sp>
    <dsp:sp modelId="{F457ABE6-BA41-41EE-A5AE-749DFBC2B2A3}">
      <dsp:nvSpPr>
        <dsp:cNvPr id="0" name=""/>
        <dsp:cNvSpPr/>
      </dsp:nvSpPr>
      <dsp:spPr>
        <a:xfrm rot="5400000">
          <a:off x="5032262" y="1705874"/>
          <a:ext cx="1861948" cy="1619895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Advanced technology</a:t>
          </a:r>
          <a:endParaRPr lang="ar-SA" sz="1500" kern="1200" dirty="0"/>
        </a:p>
      </dsp:txBody>
      <dsp:txXfrm rot="-5400000">
        <a:off x="5405722" y="1875002"/>
        <a:ext cx="1115027" cy="1281640"/>
      </dsp:txXfrm>
    </dsp:sp>
    <dsp:sp modelId="{14E7C234-8218-48F8-9D34-C939568DBC05}">
      <dsp:nvSpPr>
        <dsp:cNvPr id="0" name=""/>
        <dsp:cNvSpPr/>
      </dsp:nvSpPr>
      <dsp:spPr>
        <a:xfrm>
          <a:off x="3075353" y="1957238"/>
          <a:ext cx="2010904" cy="11171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ar-SA" sz="1500" kern="1200" dirty="0"/>
        </a:p>
      </dsp:txBody>
      <dsp:txXfrm>
        <a:off x="3075353" y="1957238"/>
        <a:ext cx="2010904" cy="1117169"/>
      </dsp:txXfrm>
    </dsp:sp>
    <dsp:sp modelId="{819166A7-7599-4803-B3F7-E43447B5D6E2}">
      <dsp:nvSpPr>
        <dsp:cNvPr id="0" name=""/>
        <dsp:cNvSpPr/>
      </dsp:nvSpPr>
      <dsp:spPr>
        <a:xfrm rot="5400000">
          <a:off x="6781749" y="1705874"/>
          <a:ext cx="1861948" cy="1619895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Value based care</a:t>
          </a:r>
          <a:endParaRPr lang="ar-SA" sz="1600" kern="1200" dirty="0"/>
        </a:p>
      </dsp:txBody>
      <dsp:txXfrm rot="-5400000">
        <a:off x="7155209" y="1875002"/>
        <a:ext cx="1115027" cy="1281640"/>
      </dsp:txXfrm>
    </dsp:sp>
    <dsp:sp modelId="{6159ABEA-9DB6-4149-B828-CA9282AD0727}">
      <dsp:nvSpPr>
        <dsp:cNvPr id="0" name=""/>
        <dsp:cNvSpPr/>
      </dsp:nvSpPr>
      <dsp:spPr>
        <a:xfrm rot="5400000">
          <a:off x="5910357" y="3286297"/>
          <a:ext cx="1861948" cy="1619895"/>
        </a:xfrm>
        <a:prstGeom prst="hexagon">
          <a:avLst>
            <a:gd name="adj" fmla="val 25000"/>
            <a:gd name="vf" fmla="val 115470"/>
          </a:avLst>
        </a:prstGeom>
        <a:solidFill>
          <a:srgbClr val="03A5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Sharing of resources</a:t>
          </a:r>
          <a:endParaRPr lang="ar-SA" sz="1600" kern="1200" dirty="0"/>
        </a:p>
      </dsp:txBody>
      <dsp:txXfrm rot="-5400000">
        <a:off x="6283817" y="3455425"/>
        <a:ext cx="1115027" cy="1281640"/>
      </dsp:txXfrm>
    </dsp:sp>
    <dsp:sp modelId="{7BBD38ED-EF4E-49A8-97A5-EBA8663D208E}">
      <dsp:nvSpPr>
        <dsp:cNvPr id="0" name=""/>
        <dsp:cNvSpPr/>
      </dsp:nvSpPr>
      <dsp:spPr>
        <a:xfrm>
          <a:off x="7700435" y="3537660"/>
          <a:ext cx="2077935" cy="11171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ar-SA" sz="1500" kern="1200"/>
        </a:p>
      </dsp:txBody>
      <dsp:txXfrm>
        <a:off x="7700435" y="3537660"/>
        <a:ext cx="2077935" cy="1117169"/>
      </dsp:txXfrm>
    </dsp:sp>
    <dsp:sp modelId="{92CA2C6D-75A4-438E-BCD7-2EBE4D4F6A1D}">
      <dsp:nvSpPr>
        <dsp:cNvPr id="0" name=""/>
        <dsp:cNvSpPr/>
      </dsp:nvSpPr>
      <dsp:spPr>
        <a:xfrm rot="5400000">
          <a:off x="4160870" y="3286297"/>
          <a:ext cx="1861948" cy="1619895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Policy and regulatory enhancement</a:t>
          </a:r>
          <a:endParaRPr lang="ar-SA" sz="1500" kern="1200" dirty="0"/>
        </a:p>
      </dsp:txBody>
      <dsp:txXfrm rot="-5400000">
        <a:off x="4534330" y="3455425"/>
        <a:ext cx="1115027" cy="1281640"/>
      </dsp:txXfrm>
    </dsp:sp>
    <dsp:sp modelId="{4691741E-6504-4E69-9F48-807CD6048FEE}">
      <dsp:nvSpPr>
        <dsp:cNvPr id="0" name=""/>
        <dsp:cNvSpPr/>
      </dsp:nvSpPr>
      <dsp:spPr>
        <a:xfrm rot="5400000">
          <a:off x="3233837" y="1706936"/>
          <a:ext cx="1861948" cy="1619895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Increasing patient engagement</a:t>
          </a:r>
          <a:endParaRPr lang="ar-SA" sz="1500" kern="1200" dirty="0"/>
        </a:p>
      </dsp:txBody>
      <dsp:txXfrm rot="-5400000">
        <a:off x="3607297" y="1876064"/>
        <a:ext cx="1115027" cy="1281640"/>
      </dsp:txXfrm>
    </dsp:sp>
    <dsp:sp modelId="{EDF528F3-E764-4469-87C1-0B02D6229F04}">
      <dsp:nvSpPr>
        <dsp:cNvPr id="0" name=""/>
        <dsp:cNvSpPr/>
      </dsp:nvSpPr>
      <dsp:spPr>
        <a:xfrm>
          <a:off x="3075353" y="5118082"/>
          <a:ext cx="2010904" cy="11171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F6362B6-4310-40D3-9743-7D98A72423D5}">
      <dsp:nvSpPr>
        <dsp:cNvPr id="0" name=""/>
        <dsp:cNvSpPr/>
      </dsp:nvSpPr>
      <dsp:spPr>
        <a:xfrm rot="5400000">
          <a:off x="7627221" y="3254588"/>
          <a:ext cx="1861948" cy="1619895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 addressing Social determinants</a:t>
          </a:r>
          <a:endParaRPr lang="ar-SA" sz="1600" kern="1200" dirty="0"/>
        </a:p>
      </dsp:txBody>
      <dsp:txXfrm rot="-5400000">
        <a:off x="8000681" y="3423716"/>
        <a:ext cx="1115027" cy="1281640"/>
      </dsp:txXfrm>
    </dsp:sp>
    <dsp:sp modelId="{45C93158-BC4B-4F9B-B2C9-488E62037CD8}">
      <dsp:nvSpPr>
        <dsp:cNvPr id="0" name=""/>
        <dsp:cNvSpPr/>
      </dsp:nvSpPr>
      <dsp:spPr>
        <a:xfrm rot="5400000">
          <a:off x="7695449" y="179616"/>
          <a:ext cx="1861948" cy="1619895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9842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tabLst>
              <a:tab pos="809625" algn="l"/>
              <a:tab pos="896938" algn="l"/>
            </a:tabLst>
          </a:pPr>
          <a:r>
            <a:rPr lang="en-US" sz="1400" kern="1200" dirty="0"/>
            <a:t>Interdisciplinary  collaboration</a:t>
          </a:r>
          <a:endParaRPr lang="ar-SA" sz="1400" kern="1200" dirty="0"/>
        </a:p>
      </dsp:txBody>
      <dsp:txXfrm rot="-5400000">
        <a:off x="8068909" y="348744"/>
        <a:ext cx="1115027" cy="1281640"/>
      </dsp:txXfrm>
    </dsp:sp>
    <dsp:sp modelId="{1D4B9D85-B8CD-4D97-94F1-38C448D44DA6}">
      <dsp:nvSpPr>
        <dsp:cNvPr id="0" name=""/>
        <dsp:cNvSpPr/>
      </dsp:nvSpPr>
      <dsp:spPr>
        <a:xfrm>
          <a:off x="7700435" y="6698504"/>
          <a:ext cx="2077935" cy="11171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9CBCDC-211C-49D7-92BB-A144A0C6A853}">
      <dsp:nvSpPr>
        <dsp:cNvPr id="0" name=""/>
        <dsp:cNvSpPr/>
      </dsp:nvSpPr>
      <dsp:spPr>
        <a:xfrm rot="5400000">
          <a:off x="8528999" y="1722427"/>
          <a:ext cx="1861948" cy="1619895"/>
        </a:xfrm>
        <a:prstGeom prst="hexagon">
          <a:avLst>
            <a:gd name="adj" fmla="val 25000"/>
            <a:gd name="vf" fmla="val 115470"/>
          </a:avLst>
        </a:prstGeom>
        <a:solidFill>
          <a:srgbClr val="03A5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Prediction and prevention</a:t>
          </a:r>
          <a:endParaRPr lang="ar-SA" sz="1600" kern="1200" dirty="0"/>
        </a:p>
      </dsp:txBody>
      <dsp:txXfrm rot="-5400000">
        <a:off x="8902459" y="1891555"/>
        <a:ext cx="1115027" cy="12816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9F8EF0-73C8-7343-8E11-53600A24B57E}" type="datetimeFigureOut">
              <a:rPr lang="en-US" smtClean="0"/>
              <a:t>3/5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AFF00F-707B-EF40-9119-FE2C2F517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570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By Design : Naif </a:t>
            </a:r>
            <a:r>
              <a:rPr lang="en-US" dirty="0" err="1">
                <a:solidFill>
                  <a:schemeClr val="bg1"/>
                </a:solidFill>
                <a:highlight>
                  <a:srgbClr val="FFFF00"/>
                </a:highlight>
              </a:rPr>
              <a:t>AlHarbi</a:t>
            </a: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 - </a:t>
            </a:r>
            <a:r>
              <a:rPr lang="en-US" dirty="0" err="1">
                <a:solidFill>
                  <a:schemeClr val="bg1"/>
                </a:solidFill>
                <a:highlight>
                  <a:srgbClr val="FFFF00"/>
                </a:highlight>
              </a:rPr>
              <a:t>Almaarefa</a:t>
            </a:r>
            <a:r>
              <a:rPr lang="en-US">
                <a:solidFill>
                  <a:schemeClr val="bg1"/>
                </a:solidFill>
                <a:highlight>
                  <a:srgbClr val="FFFF00"/>
                </a:highlight>
              </a:rPr>
              <a:t> University</a:t>
            </a:r>
            <a:endParaRPr lang="en-US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3161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7381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652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21196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16437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8457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4830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63712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55708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48806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12204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04571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849797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26537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By Design : Naif </a:t>
            </a:r>
            <a:r>
              <a:rPr lang="en-US" dirty="0" err="1">
                <a:solidFill>
                  <a:schemeClr val="bg1"/>
                </a:solidFill>
                <a:highlight>
                  <a:srgbClr val="FFFF00"/>
                </a:highlight>
              </a:rPr>
              <a:t>AlHarbi</a:t>
            </a: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 - </a:t>
            </a:r>
            <a:r>
              <a:rPr lang="en-US" dirty="0" err="1">
                <a:solidFill>
                  <a:schemeClr val="bg1"/>
                </a:solidFill>
                <a:highlight>
                  <a:srgbClr val="FFFF00"/>
                </a:highlight>
              </a:rPr>
              <a:t>Almaarefa</a:t>
            </a: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 Univers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371079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22328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By Design : Naif </a:t>
            </a:r>
            <a:r>
              <a:rPr lang="en-US" dirty="0" err="1">
                <a:solidFill>
                  <a:schemeClr val="bg1"/>
                </a:solidFill>
                <a:highlight>
                  <a:srgbClr val="FFFF00"/>
                </a:highlight>
              </a:rPr>
              <a:t>AlHarbi</a:t>
            </a: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 - </a:t>
            </a:r>
            <a:r>
              <a:rPr lang="en-US" dirty="0" err="1">
                <a:solidFill>
                  <a:schemeClr val="bg1"/>
                </a:solidFill>
                <a:highlight>
                  <a:srgbClr val="FFFF00"/>
                </a:highlight>
              </a:rPr>
              <a:t>Almaarefa</a:t>
            </a: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 Univers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0113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25267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By Design : Naif </a:t>
            </a:r>
            <a:r>
              <a:rPr lang="en-US" dirty="0" err="1">
                <a:solidFill>
                  <a:schemeClr val="bg1"/>
                </a:solidFill>
                <a:highlight>
                  <a:srgbClr val="FFFF00"/>
                </a:highlight>
              </a:rPr>
              <a:t>AlHarbi</a:t>
            </a: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 - </a:t>
            </a:r>
            <a:r>
              <a:rPr lang="en-US" dirty="0" err="1">
                <a:solidFill>
                  <a:schemeClr val="bg1"/>
                </a:solidFill>
                <a:highlight>
                  <a:srgbClr val="FFFF00"/>
                </a:highlight>
              </a:rPr>
              <a:t>Almaarefa</a:t>
            </a: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 Univers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2930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By Design : Naif </a:t>
            </a:r>
            <a:r>
              <a:rPr lang="en-US" dirty="0" err="1">
                <a:solidFill>
                  <a:schemeClr val="bg1"/>
                </a:solidFill>
                <a:highlight>
                  <a:srgbClr val="FFFF00"/>
                </a:highlight>
              </a:rPr>
              <a:t>AlHarbi</a:t>
            </a: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 - </a:t>
            </a:r>
            <a:r>
              <a:rPr lang="en-US" dirty="0" err="1">
                <a:solidFill>
                  <a:schemeClr val="bg1"/>
                </a:solidFill>
                <a:highlight>
                  <a:srgbClr val="FFFF00"/>
                </a:highlight>
              </a:rPr>
              <a:t>Almaarefa</a:t>
            </a: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 Univers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0871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8802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71222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7503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9511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15657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By Design : Naif </a:t>
            </a:r>
            <a:r>
              <a:rPr lang="en-US" dirty="0" err="1">
                <a:solidFill>
                  <a:schemeClr val="bg1"/>
                </a:solidFill>
                <a:highlight>
                  <a:srgbClr val="FFFF00"/>
                </a:highlight>
              </a:rPr>
              <a:t>AlHarbi</a:t>
            </a: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 - </a:t>
            </a:r>
            <a:r>
              <a:rPr lang="en-US" dirty="0" err="1">
                <a:solidFill>
                  <a:schemeClr val="bg1"/>
                </a:solidFill>
                <a:highlight>
                  <a:srgbClr val="FFFF00"/>
                </a:highlight>
              </a:rPr>
              <a:t>Almaarefa</a:t>
            </a: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 Univers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AFF00F-707B-EF40-9119-FE2C2F517A5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0286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62260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4A96C637-82EE-4DB3-9504-8434C1E4AA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72841" y="2204365"/>
            <a:ext cx="2134097" cy="2830271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7C8E273D-458F-4158-AE18-FF2000DEFF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551377" y="2204365"/>
            <a:ext cx="2134097" cy="2830271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7D392D9E-C14F-458E-9143-5F612AF7414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38380" y="2204365"/>
            <a:ext cx="2134097" cy="2830271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DE987D9B-327C-4616-B326-7185F59D6B2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81739" y="2204365"/>
            <a:ext cx="2134097" cy="2830271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56542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DFBB4AF6-8AAE-4A40-B1E7-FD03BADADEB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026114" y="3431086"/>
            <a:ext cx="2530470" cy="2256497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88A03DB2-BDB7-4F50-B705-417A20557A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507505" y="3431086"/>
            <a:ext cx="2530470" cy="2256497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575C793-5616-4AC8-88B1-43E8E1BF721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23342" y="3431086"/>
            <a:ext cx="2728359" cy="2256497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F89D67C8-250A-4D2C-81F0-97EAA4A3136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156395" y="3431086"/>
            <a:ext cx="2626263" cy="2256497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9B0C84CC-5834-4B48-B403-2538293B4C06}"/>
              </a:ext>
            </a:extLst>
          </p:cNvPr>
          <p:cNvSpPr/>
          <p:nvPr userDrawn="1"/>
        </p:nvSpPr>
        <p:spPr>
          <a:xfrm>
            <a:off x="1156890" y="1333501"/>
            <a:ext cx="5394811" cy="2120685"/>
          </a:xfrm>
          <a:custGeom>
            <a:avLst/>
            <a:gdLst>
              <a:gd name="connsiteX0" fmla="*/ 387662 w 5394811"/>
              <a:gd name="connsiteY0" fmla="*/ 0 h 2120685"/>
              <a:gd name="connsiteX1" fmla="*/ 5007149 w 5394811"/>
              <a:gd name="connsiteY1" fmla="*/ 0 h 2120685"/>
              <a:gd name="connsiteX2" fmla="*/ 5394811 w 5394811"/>
              <a:gd name="connsiteY2" fmla="*/ 387662 h 2120685"/>
              <a:gd name="connsiteX3" fmla="*/ 5394811 w 5394811"/>
              <a:gd name="connsiteY3" fmla="*/ 2120685 h 2120685"/>
              <a:gd name="connsiteX4" fmla="*/ 0 w 5394811"/>
              <a:gd name="connsiteY4" fmla="*/ 2120685 h 2120685"/>
              <a:gd name="connsiteX5" fmla="*/ 0 w 5394811"/>
              <a:gd name="connsiteY5" fmla="*/ 387662 h 2120685"/>
              <a:gd name="connsiteX6" fmla="*/ 387662 w 5394811"/>
              <a:gd name="connsiteY6" fmla="*/ 0 h 2120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94811" h="2120685">
                <a:moveTo>
                  <a:pt x="387662" y="0"/>
                </a:moveTo>
                <a:lnTo>
                  <a:pt x="5007149" y="0"/>
                </a:lnTo>
                <a:cubicBezTo>
                  <a:pt x="5221249" y="0"/>
                  <a:pt x="5394811" y="173562"/>
                  <a:pt x="5394811" y="387662"/>
                </a:cubicBezTo>
                <a:lnTo>
                  <a:pt x="5394811" y="2120685"/>
                </a:lnTo>
                <a:lnTo>
                  <a:pt x="0" y="2120685"/>
                </a:lnTo>
                <a:lnTo>
                  <a:pt x="0" y="387662"/>
                </a:lnTo>
                <a:cubicBezTo>
                  <a:pt x="0" y="173562"/>
                  <a:pt x="173562" y="0"/>
                  <a:pt x="38766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215900" dist="38100" dir="5400000" rotWithShape="0">
              <a:schemeClr val="bg1">
                <a:lumMod val="75000"/>
                <a:alpha val="2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42612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Picture Placeholder 147">
            <a:extLst>
              <a:ext uri="{FF2B5EF4-FFF2-40B4-BE49-F238E27FC236}">
                <a16:creationId xmlns:a16="http://schemas.microsoft.com/office/drawing/2014/main" id="{2C80E470-AB36-4329-8A60-12EC1914256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508735" y="4630300"/>
            <a:ext cx="1405842" cy="1412022"/>
          </a:xfrm>
          <a:custGeom>
            <a:avLst/>
            <a:gdLst>
              <a:gd name="connsiteX0" fmla="*/ 702921 w 1405842"/>
              <a:gd name="connsiteY0" fmla="*/ 0 h 1412022"/>
              <a:gd name="connsiteX1" fmla="*/ 1405842 w 1405842"/>
              <a:gd name="connsiteY1" fmla="*/ 706011 h 1412022"/>
              <a:gd name="connsiteX2" fmla="*/ 702921 w 1405842"/>
              <a:gd name="connsiteY2" fmla="*/ 1412022 h 1412022"/>
              <a:gd name="connsiteX3" fmla="*/ 0 w 1405842"/>
              <a:gd name="connsiteY3" fmla="*/ 706011 h 1412022"/>
              <a:gd name="connsiteX4" fmla="*/ 702921 w 1405842"/>
              <a:gd name="connsiteY4" fmla="*/ 0 h 1412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5842" h="1412022">
                <a:moveTo>
                  <a:pt x="702921" y="0"/>
                </a:moveTo>
                <a:cubicBezTo>
                  <a:pt x="1091134" y="0"/>
                  <a:pt x="1405842" y="316092"/>
                  <a:pt x="1405842" y="706011"/>
                </a:cubicBezTo>
                <a:cubicBezTo>
                  <a:pt x="1405842" y="1095930"/>
                  <a:pt x="1091134" y="1412022"/>
                  <a:pt x="702921" y="1412022"/>
                </a:cubicBezTo>
                <a:cubicBezTo>
                  <a:pt x="314708" y="1412022"/>
                  <a:pt x="0" y="1095930"/>
                  <a:pt x="0" y="706011"/>
                </a:cubicBezTo>
                <a:cubicBezTo>
                  <a:pt x="0" y="316092"/>
                  <a:pt x="314708" y="0"/>
                  <a:pt x="702921" y="0"/>
                </a:cubicBez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6" name="Picture Placeholder 145">
            <a:extLst>
              <a:ext uri="{FF2B5EF4-FFF2-40B4-BE49-F238E27FC236}">
                <a16:creationId xmlns:a16="http://schemas.microsoft.com/office/drawing/2014/main" id="{C8505DC3-31E3-4DD8-858F-DDF018DC290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508735" y="2465797"/>
            <a:ext cx="1405842" cy="1412022"/>
          </a:xfrm>
          <a:custGeom>
            <a:avLst/>
            <a:gdLst>
              <a:gd name="connsiteX0" fmla="*/ 702921 w 1405842"/>
              <a:gd name="connsiteY0" fmla="*/ 0 h 1412022"/>
              <a:gd name="connsiteX1" fmla="*/ 1405842 w 1405842"/>
              <a:gd name="connsiteY1" fmla="*/ 706011 h 1412022"/>
              <a:gd name="connsiteX2" fmla="*/ 702921 w 1405842"/>
              <a:gd name="connsiteY2" fmla="*/ 1412022 h 1412022"/>
              <a:gd name="connsiteX3" fmla="*/ 0 w 1405842"/>
              <a:gd name="connsiteY3" fmla="*/ 706011 h 1412022"/>
              <a:gd name="connsiteX4" fmla="*/ 702921 w 1405842"/>
              <a:gd name="connsiteY4" fmla="*/ 0 h 1412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5842" h="1412022">
                <a:moveTo>
                  <a:pt x="702921" y="0"/>
                </a:moveTo>
                <a:cubicBezTo>
                  <a:pt x="1091134" y="0"/>
                  <a:pt x="1405842" y="316092"/>
                  <a:pt x="1405842" y="706011"/>
                </a:cubicBezTo>
                <a:cubicBezTo>
                  <a:pt x="1405842" y="1095930"/>
                  <a:pt x="1091134" y="1412022"/>
                  <a:pt x="702921" y="1412022"/>
                </a:cubicBezTo>
                <a:cubicBezTo>
                  <a:pt x="314708" y="1412022"/>
                  <a:pt x="0" y="1095930"/>
                  <a:pt x="0" y="706011"/>
                </a:cubicBezTo>
                <a:cubicBezTo>
                  <a:pt x="0" y="316092"/>
                  <a:pt x="314708" y="0"/>
                  <a:pt x="702921" y="0"/>
                </a:cubicBez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4" name="Picture Placeholder 143">
            <a:extLst>
              <a:ext uri="{FF2B5EF4-FFF2-40B4-BE49-F238E27FC236}">
                <a16:creationId xmlns:a16="http://schemas.microsoft.com/office/drawing/2014/main" id="{4D4E6132-6A3E-4985-8FCB-E95EFBB6F3C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184865" y="4630300"/>
            <a:ext cx="1405842" cy="1412022"/>
          </a:xfrm>
          <a:custGeom>
            <a:avLst/>
            <a:gdLst>
              <a:gd name="connsiteX0" fmla="*/ 702921 w 1405842"/>
              <a:gd name="connsiteY0" fmla="*/ 0 h 1412022"/>
              <a:gd name="connsiteX1" fmla="*/ 1405842 w 1405842"/>
              <a:gd name="connsiteY1" fmla="*/ 706011 h 1412022"/>
              <a:gd name="connsiteX2" fmla="*/ 702921 w 1405842"/>
              <a:gd name="connsiteY2" fmla="*/ 1412022 h 1412022"/>
              <a:gd name="connsiteX3" fmla="*/ 0 w 1405842"/>
              <a:gd name="connsiteY3" fmla="*/ 706011 h 1412022"/>
              <a:gd name="connsiteX4" fmla="*/ 702921 w 1405842"/>
              <a:gd name="connsiteY4" fmla="*/ 0 h 1412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5842" h="1412022">
                <a:moveTo>
                  <a:pt x="702921" y="0"/>
                </a:moveTo>
                <a:cubicBezTo>
                  <a:pt x="1091134" y="0"/>
                  <a:pt x="1405842" y="316092"/>
                  <a:pt x="1405842" y="706011"/>
                </a:cubicBezTo>
                <a:cubicBezTo>
                  <a:pt x="1405842" y="1095930"/>
                  <a:pt x="1091134" y="1412022"/>
                  <a:pt x="702921" y="1412022"/>
                </a:cubicBezTo>
                <a:cubicBezTo>
                  <a:pt x="314708" y="1412022"/>
                  <a:pt x="0" y="1095930"/>
                  <a:pt x="0" y="706011"/>
                </a:cubicBezTo>
                <a:cubicBezTo>
                  <a:pt x="0" y="316092"/>
                  <a:pt x="314708" y="0"/>
                  <a:pt x="702921" y="0"/>
                </a:cubicBez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2" name="Picture Placeholder 141">
            <a:extLst>
              <a:ext uri="{FF2B5EF4-FFF2-40B4-BE49-F238E27FC236}">
                <a16:creationId xmlns:a16="http://schemas.microsoft.com/office/drawing/2014/main" id="{1B084E97-C094-444A-9421-A138E23851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84865" y="2465797"/>
            <a:ext cx="1405842" cy="1412022"/>
          </a:xfrm>
          <a:custGeom>
            <a:avLst/>
            <a:gdLst>
              <a:gd name="connsiteX0" fmla="*/ 702921 w 1405842"/>
              <a:gd name="connsiteY0" fmla="*/ 0 h 1412022"/>
              <a:gd name="connsiteX1" fmla="*/ 1405842 w 1405842"/>
              <a:gd name="connsiteY1" fmla="*/ 706011 h 1412022"/>
              <a:gd name="connsiteX2" fmla="*/ 702921 w 1405842"/>
              <a:gd name="connsiteY2" fmla="*/ 1412022 h 1412022"/>
              <a:gd name="connsiteX3" fmla="*/ 0 w 1405842"/>
              <a:gd name="connsiteY3" fmla="*/ 706011 h 1412022"/>
              <a:gd name="connsiteX4" fmla="*/ 702921 w 1405842"/>
              <a:gd name="connsiteY4" fmla="*/ 0 h 1412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5842" h="1412022">
                <a:moveTo>
                  <a:pt x="702921" y="0"/>
                </a:moveTo>
                <a:cubicBezTo>
                  <a:pt x="1091134" y="0"/>
                  <a:pt x="1405842" y="316092"/>
                  <a:pt x="1405842" y="706011"/>
                </a:cubicBezTo>
                <a:cubicBezTo>
                  <a:pt x="1405842" y="1095930"/>
                  <a:pt x="1091134" y="1412022"/>
                  <a:pt x="702921" y="1412022"/>
                </a:cubicBezTo>
                <a:cubicBezTo>
                  <a:pt x="314708" y="1412022"/>
                  <a:pt x="0" y="1095930"/>
                  <a:pt x="0" y="706011"/>
                </a:cubicBezTo>
                <a:cubicBezTo>
                  <a:pt x="0" y="316092"/>
                  <a:pt x="314708" y="0"/>
                  <a:pt x="702921" y="0"/>
                </a:cubicBez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96901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E031F571-1F12-48E1-82DB-AADE23FDCCE8}"/>
              </a:ext>
            </a:extLst>
          </p:cNvPr>
          <p:cNvGrpSpPr/>
          <p:nvPr userDrawn="1"/>
        </p:nvGrpSpPr>
        <p:grpSpPr>
          <a:xfrm>
            <a:off x="0" y="2684935"/>
            <a:ext cx="11560709" cy="3396274"/>
            <a:chOff x="0" y="2684935"/>
            <a:chExt cx="11560709" cy="3396274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B85F664-317A-4F05-882C-C3C5668762E5}"/>
                </a:ext>
              </a:extLst>
            </p:cNvPr>
            <p:cNvSpPr/>
            <p:nvPr userDrawn="1"/>
          </p:nvSpPr>
          <p:spPr>
            <a:xfrm>
              <a:off x="0" y="3371851"/>
              <a:ext cx="11560709" cy="27093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2F08E9F-5DBF-4DF2-87E8-3D14996EFC0F}"/>
                </a:ext>
              </a:extLst>
            </p:cNvPr>
            <p:cNvSpPr/>
            <p:nvPr userDrawn="1"/>
          </p:nvSpPr>
          <p:spPr>
            <a:xfrm>
              <a:off x="3387161" y="2684935"/>
              <a:ext cx="2303202" cy="3396274"/>
            </a:xfrm>
            <a:prstGeom prst="rect">
              <a:avLst/>
            </a:prstGeom>
            <a:gradFill>
              <a:gsLst>
                <a:gs pos="11000">
                  <a:srgbClr val="31C9A2"/>
                </a:gs>
                <a:gs pos="100000">
                  <a:srgbClr val="2A94DD"/>
                </a:gs>
              </a:gsLst>
              <a:lin ang="8100000" scaled="1"/>
            </a:gradFill>
            <a:ln>
              <a:noFill/>
            </a:ln>
            <a:effectLst>
              <a:outerShdw blurRad="215900" dist="38100" dir="5400000" algn="ctr" rotWithShape="0">
                <a:schemeClr val="bg1">
                  <a:lumMod val="75000"/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62110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931B3A4-1073-4DA9-B593-33A8FB17BA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2626263" cy="6857143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DB52CD57-F95B-4600-9184-EF5DE114895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626263" y="857"/>
            <a:ext cx="3183987" cy="6857143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0FA23FA7-D745-4DA6-A193-1E864A1C329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810250" y="857"/>
            <a:ext cx="3183987" cy="6857143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06FC8628-727F-48AE-9456-D523F824037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994237" y="857"/>
            <a:ext cx="3197763" cy="6857143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9794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A7188E95-4B8C-416C-8BF6-11FFAF18DD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28848" y="3429000"/>
            <a:ext cx="5531862" cy="34290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F37419E8-B31C-4808-ACA7-BEA8A4CD0A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649066" y="0"/>
            <a:ext cx="4379781" cy="3427124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24568BE0-85D0-4EA1-A66C-DB72B8F74A17}"/>
              </a:ext>
            </a:extLst>
          </p:cNvPr>
          <p:cNvSpPr/>
          <p:nvPr userDrawn="1"/>
        </p:nvSpPr>
        <p:spPr>
          <a:xfrm rot="16200000">
            <a:off x="280247" y="2058302"/>
            <a:ext cx="2275635" cy="462008"/>
          </a:xfrm>
          <a:custGeom>
            <a:avLst/>
            <a:gdLst>
              <a:gd name="connsiteX0" fmla="*/ 1956133 w 1956133"/>
              <a:gd name="connsiteY0" fmla="*/ 167015 h 462006"/>
              <a:gd name="connsiteX1" fmla="*/ 1956133 w 1956133"/>
              <a:gd name="connsiteY1" fmla="*/ 462006 h 462006"/>
              <a:gd name="connsiteX2" fmla="*/ 0 w 1956133"/>
              <a:gd name="connsiteY2" fmla="*/ 462005 h 462006"/>
              <a:gd name="connsiteX3" fmla="*/ 0 w 1956133"/>
              <a:gd name="connsiteY3" fmla="*/ 167015 h 462006"/>
              <a:gd name="connsiteX4" fmla="*/ 167015 w 1956133"/>
              <a:gd name="connsiteY4" fmla="*/ 0 h 462006"/>
              <a:gd name="connsiteX5" fmla="*/ 1789118 w 1956133"/>
              <a:gd name="connsiteY5" fmla="*/ 0 h 462006"/>
              <a:gd name="connsiteX6" fmla="*/ 1956133 w 1956133"/>
              <a:gd name="connsiteY6" fmla="*/ 167015 h 462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6133" h="462006">
                <a:moveTo>
                  <a:pt x="1956133" y="167015"/>
                </a:moveTo>
                <a:lnTo>
                  <a:pt x="1956133" y="462006"/>
                </a:lnTo>
                <a:lnTo>
                  <a:pt x="0" y="462005"/>
                </a:lnTo>
                <a:lnTo>
                  <a:pt x="0" y="167015"/>
                </a:lnTo>
                <a:cubicBezTo>
                  <a:pt x="0" y="74775"/>
                  <a:pt x="74775" y="0"/>
                  <a:pt x="167015" y="0"/>
                </a:cubicBezTo>
                <a:lnTo>
                  <a:pt x="1789118" y="0"/>
                </a:lnTo>
                <a:cubicBezTo>
                  <a:pt x="1881358" y="0"/>
                  <a:pt x="1956133" y="74775"/>
                  <a:pt x="1956133" y="167015"/>
                </a:cubicBezTo>
                <a:close/>
              </a:path>
            </a:pathLst>
          </a:custGeom>
          <a:gradFill>
            <a:gsLst>
              <a:gs pos="11000">
                <a:srgbClr val="31C9A2"/>
              </a:gs>
              <a:gs pos="100000">
                <a:srgbClr val="2A94DD"/>
              </a:gs>
            </a:gsLst>
            <a:lin ang="8100000" scaled="1"/>
          </a:gradFill>
          <a:ln>
            <a:noFill/>
          </a:ln>
          <a:effectLst>
            <a:outerShdw blurRad="215900" dist="38100" dir="5400000" algn="ctr" rotWithShape="0">
              <a:schemeClr val="bg1">
                <a:lumMod val="75000"/>
                <a:alpha val="2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87129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D9F12CDD-AE58-4039-806D-EEB8F098C95F}"/>
              </a:ext>
            </a:extLst>
          </p:cNvPr>
          <p:cNvSpPr/>
          <p:nvPr userDrawn="1"/>
        </p:nvSpPr>
        <p:spPr>
          <a:xfrm>
            <a:off x="7776822" y="954211"/>
            <a:ext cx="3766134" cy="4949578"/>
          </a:xfrm>
          <a:prstGeom prst="rect">
            <a:avLst/>
          </a:prstGeom>
          <a:gradFill>
            <a:gsLst>
              <a:gs pos="11000">
                <a:srgbClr val="31C9A2"/>
              </a:gs>
              <a:gs pos="100000">
                <a:srgbClr val="2A94DD"/>
              </a:gs>
            </a:gsLst>
            <a:lin ang="8100000" scaled="1"/>
          </a:gradFill>
          <a:ln>
            <a:noFill/>
          </a:ln>
          <a:effectLst>
            <a:outerShdw blurRad="215900" dist="38100" dir="5400000" algn="ctr" rotWithShape="0">
              <a:schemeClr val="bg1">
                <a:lumMod val="75000"/>
                <a:alpha val="2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BC536B5B-697F-43DC-B99B-63D01182936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83370" y="954211"/>
            <a:ext cx="3230695" cy="4949578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EDF0C305-26DC-466A-AD9B-931D0A41104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280096" y="954211"/>
            <a:ext cx="3230695" cy="4949578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02736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6B2C0F0F-7D8F-45CE-AB2D-CE21860DA11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5021456" cy="5023973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1497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D022167-4FD7-4A90-AC4A-DECBFD0B5B47}"/>
              </a:ext>
            </a:extLst>
          </p:cNvPr>
          <p:cNvGrpSpPr/>
          <p:nvPr userDrawn="1"/>
        </p:nvGrpSpPr>
        <p:grpSpPr>
          <a:xfrm>
            <a:off x="0" y="-1"/>
            <a:ext cx="11560709" cy="6175359"/>
            <a:chOff x="0" y="-1"/>
            <a:chExt cx="11560709" cy="6175359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6758539-13A9-4304-A3A1-AF4C787DA8A6}"/>
                </a:ext>
              </a:extLst>
            </p:cNvPr>
            <p:cNvSpPr/>
            <p:nvPr userDrawn="1"/>
          </p:nvSpPr>
          <p:spPr>
            <a:xfrm>
              <a:off x="0" y="0"/>
              <a:ext cx="4169048" cy="5683701"/>
            </a:xfrm>
            <a:custGeom>
              <a:avLst/>
              <a:gdLst>
                <a:gd name="connsiteX0" fmla="*/ 0 w 4169048"/>
                <a:gd name="connsiteY0" fmla="*/ 0 h 5675858"/>
                <a:gd name="connsiteX1" fmla="*/ 4169048 w 4169048"/>
                <a:gd name="connsiteY1" fmla="*/ 0 h 5675858"/>
                <a:gd name="connsiteX2" fmla="*/ 4169048 w 4169048"/>
                <a:gd name="connsiteY2" fmla="*/ 3602865 h 5675858"/>
                <a:gd name="connsiteX3" fmla="*/ 475488 w 4169048"/>
                <a:gd name="connsiteY3" fmla="*/ 3602865 h 5675858"/>
                <a:gd name="connsiteX4" fmla="*/ 475488 w 4169048"/>
                <a:gd name="connsiteY4" fmla="*/ 5675858 h 5675858"/>
                <a:gd name="connsiteX5" fmla="*/ 0 w 4169048"/>
                <a:gd name="connsiteY5" fmla="*/ 5675858 h 5675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69048" h="5675858">
                  <a:moveTo>
                    <a:pt x="0" y="0"/>
                  </a:moveTo>
                  <a:lnTo>
                    <a:pt x="4169048" y="0"/>
                  </a:lnTo>
                  <a:lnTo>
                    <a:pt x="4169048" y="3602865"/>
                  </a:lnTo>
                  <a:lnTo>
                    <a:pt x="475488" y="3602865"/>
                  </a:lnTo>
                  <a:lnTo>
                    <a:pt x="475488" y="5675858"/>
                  </a:lnTo>
                  <a:lnTo>
                    <a:pt x="0" y="5675858"/>
                  </a:lnTo>
                  <a:close/>
                </a:path>
              </a:pathLst>
            </a:custGeom>
            <a:gradFill>
              <a:gsLst>
                <a:gs pos="11000">
                  <a:srgbClr val="31C9A2"/>
                </a:gs>
                <a:gs pos="100000">
                  <a:srgbClr val="2A94DD"/>
                </a:gs>
              </a:gsLst>
              <a:lin ang="8100000" scaled="1"/>
            </a:gradFill>
            <a:ln>
              <a:noFill/>
            </a:ln>
            <a:effectLst>
              <a:outerShdw blurRad="215900" dist="38100" dir="5400000" algn="ctr" rotWithShape="0">
                <a:schemeClr val="bg1">
                  <a:lumMod val="75000"/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E9A10313-30A5-40BC-832E-040BDBF6A892}"/>
                </a:ext>
              </a:extLst>
            </p:cNvPr>
            <p:cNvSpPr/>
            <p:nvPr userDrawn="1"/>
          </p:nvSpPr>
          <p:spPr>
            <a:xfrm>
              <a:off x="2616696" y="-1"/>
              <a:ext cx="2804040" cy="3827423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38000">
                  <a:schemeClr val="bg1">
                    <a:lumMod val="9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4535D96-8132-4ED5-A794-E6647F561648}"/>
                </a:ext>
              </a:extLst>
            </p:cNvPr>
            <p:cNvSpPr/>
            <p:nvPr userDrawn="1"/>
          </p:nvSpPr>
          <p:spPr>
            <a:xfrm>
              <a:off x="6096000" y="4314881"/>
              <a:ext cx="5464709" cy="186047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dist="38100" dir="5400000" rotWithShape="0">
                <a:schemeClr val="bg1">
                  <a:lumMod val="75000"/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05457BF1-1865-430B-9F87-B4B7EA8F1B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853056" y="764"/>
            <a:ext cx="2696564" cy="3827423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12C577B2-1A5D-4C64-974E-E61E38AD5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658676" y="764"/>
            <a:ext cx="2956440" cy="3827423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17E6A30A-185F-404C-9272-8A4F01B687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724172" y="764"/>
            <a:ext cx="2696564" cy="3827423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60472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F54A616-1A2D-4D97-A601-295F46490C74}"/>
              </a:ext>
            </a:extLst>
          </p:cNvPr>
          <p:cNvGrpSpPr/>
          <p:nvPr userDrawn="1"/>
        </p:nvGrpSpPr>
        <p:grpSpPr>
          <a:xfrm>
            <a:off x="0" y="0"/>
            <a:ext cx="11551457" cy="6840788"/>
            <a:chOff x="0" y="0"/>
            <a:chExt cx="11551457" cy="6840788"/>
          </a:xfrm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D0A60C85-0577-43E8-925B-5BE3D3C5814A}"/>
                </a:ext>
              </a:extLst>
            </p:cNvPr>
            <p:cNvSpPr/>
            <p:nvPr userDrawn="1"/>
          </p:nvSpPr>
          <p:spPr>
            <a:xfrm>
              <a:off x="0" y="1524001"/>
              <a:ext cx="1199347" cy="2862780"/>
            </a:xfrm>
            <a:custGeom>
              <a:avLst/>
              <a:gdLst>
                <a:gd name="connsiteX0" fmla="*/ 0 w 1199347"/>
                <a:gd name="connsiteY0" fmla="*/ 0 h 2862780"/>
                <a:gd name="connsiteX1" fmla="*/ 919649 w 1199347"/>
                <a:gd name="connsiteY1" fmla="*/ 0 h 2862780"/>
                <a:gd name="connsiteX2" fmla="*/ 1199347 w 1199347"/>
                <a:gd name="connsiteY2" fmla="*/ 246450 h 2862780"/>
                <a:gd name="connsiteX3" fmla="*/ 1199347 w 1199347"/>
                <a:gd name="connsiteY3" fmla="*/ 2616331 h 2862780"/>
                <a:gd name="connsiteX4" fmla="*/ 919649 w 1199347"/>
                <a:gd name="connsiteY4" fmla="*/ 2862780 h 2862780"/>
                <a:gd name="connsiteX5" fmla="*/ 0 w 1199347"/>
                <a:gd name="connsiteY5" fmla="*/ 2862780 h 286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99347" h="2862780">
                  <a:moveTo>
                    <a:pt x="0" y="0"/>
                  </a:moveTo>
                  <a:lnTo>
                    <a:pt x="919649" y="0"/>
                  </a:lnTo>
                  <a:cubicBezTo>
                    <a:pt x="1074122" y="0"/>
                    <a:pt x="1199347" y="110339"/>
                    <a:pt x="1199347" y="246450"/>
                  </a:cubicBezTo>
                  <a:lnTo>
                    <a:pt x="1199347" y="2616331"/>
                  </a:lnTo>
                  <a:cubicBezTo>
                    <a:pt x="1199347" y="2752441"/>
                    <a:pt x="1074122" y="2862780"/>
                    <a:pt x="919649" y="2862780"/>
                  </a:cubicBezTo>
                  <a:lnTo>
                    <a:pt x="0" y="286278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127000" dist="38100" dir="5400000" algn="t" rotWithShape="0">
                <a:schemeClr val="bg1">
                  <a:lumMod val="75000"/>
                  <a:alpha val="2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E540F5B-AD52-454D-97F5-F9F54D872737}"/>
                </a:ext>
              </a:extLst>
            </p:cNvPr>
            <p:cNvSpPr/>
            <p:nvPr userDrawn="1"/>
          </p:nvSpPr>
          <p:spPr>
            <a:xfrm>
              <a:off x="1673615" y="1524001"/>
              <a:ext cx="2302796" cy="2862780"/>
            </a:xfrm>
            <a:custGeom>
              <a:avLst/>
              <a:gdLst>
                <a:gd name="connsiteX0" fmla="*/ 209517 w 1724987"/>
                <a:gd name="connsiteY0" fmla="*/ 0 h 2433768"/>
                <a:gd name="connsiteX1" fmla="*/ 1515470 w 1724987"/>
                <a:gd name="connsiteY1" fmla="*/ 0 h 2433768"/>
                <a:gd name="connsiteX2" fmla="*/ 1724987 w 1724987"/>
                <a:gd name="connsiteY2" fmla="*/ 209517 h 2433768"/>
                <a:gd name="connsiteX3" fmla="*/ 1724987 w 1724987"/>
                <a:gd name="connsiteY3" fmla="*/ 2224251 h 2433768"/>
                <a:gd name="connsiteX4" fmla="*/ 1515470 w 1724987"/>
                <a:gd name="connsiteY4" fmla="*/ 2433768 h 2433768"/>
                <a:gd name="connsiteX5" fmla="*/ 209517 w 1724987"/>
                <a:gd name="connsiteY5" fmla="*/ 2433768 h 2433768"/>
                <a:gd name="connsiteX6" fmla="*/ 0 w 1724987"/>
                <a:gd name="connsiteY6" fmla="*/ 2224251 h 2433768"/>
                <a:gd name="connsiteX7" fmla="*/ 0 w 1724987"/>
                <a:gd name="connsiteY7" fmla="*/ 209517 h 2433768"/>
                <a:gd name="connsiteX8" fmla="*/ 209517 w 1724987"/>
                <a:gd name="connsiteY8" fmla="*/ 0 h 2433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24987" h="2433768">
                  <a:moveTo>
                    <a:pt x="209517" y="0"/>
                  </a:moveTo>
                  <a:lnTo>
                    <a:pt x="1515470" y="0"/>
                  </a:lnTo>
                  <a:cubicBezTo>
                    <a:pt x="1631183" y="0"/>
                    <a:pt x="1724987" y="93804"/>
                    <a:pt x="1724987" y="209517"/>
                  </a:cubicBezTo>
                  <a:lnTo>
                    <a:pt x="1724987" y="2224251"/>
                  </a:lnTo>
                  <a:cubicBezTo>
                    <a:pt x="1724987" y="2339964"/>
                    <a:pt x="1631183" y="2433768"/>
                    <a:pt x="1515470" y="2433768"/>
                  </a:cubicBezTo>
                  <a:lnTo>
                    <a:pt x="209517" y="2433768"/>
                  </a:lnTo>
                  <a:cubicBezTo>
                    <a:pt x="93804" y="2433768"/>
                    <a:pt x="0" y="2339964"/>
                    <a:pt x="0" y="2224251"/>
                  </a:cubicBezTo>
                  <a:lnTo>
                    <a:pt x="0" y="209517"/>
                  </a:lnTo>
                  <a:cubicBezTo>
                    <a:pt x="0" y="93804"/>
                    <a:pt x="93804" y="0"/>
                    <a:pt x="20951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127000" dist="38100" dir="5400000" algn="t" rotWithShape="0">
                <a:schemeClr val="bg1">
                  <a:lumMod val="75000"/>
                  <a:alpha val="2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BE8FC7AC-6EAE-44F5-9B2F-9AB0C9A53937}"/>
                </a:ext>
              </a:extLst>
            </p:cNvPr>
            <p:cNvSpPr/>
            <p:nvPr userDrawn="1"/>
          </p:nvSpPr>
          <p:spPr>
            <a:xfrm>
              <a:off x="1673615" y="5262510"/>
              <a:ext cx="2302796" cy="1578278"/>
            </a:xfrm>
            <a:custGeom>
              <a:avLst/>
              <a:gdLst>
                <a:gd name="connsiteX0" fmla="*/ 279698 w 2302796"/>
                <a:gd name="connsiteY0" fmla="*/ 0 h 1578278"/>
                <a:gd name="connsiteX1" fmla="*/ 2023098 w 2302796"/>
                <a:gd name="connsiteY1" fmla="*/ 0 h 1578278"/>
                <a:gd name="connsiteX2" fmla="*/ 2302796 w 2302796"/>
                <a:gd name="connsiteY2" fmla="*/ 246450 h 1578278"/>
                <a:gd name="connsiteX3" fmla="*/ 2302796 w 2302796"/>
                <a:gd name="connsiteY3" fmla="*/ 1578278 h 1578278"/>
                <a:gd name="connsiteX4" fmla="*/ 0 w 2302796"/>
                <a:gd name="connsiteY4" fmla="*/ 1578278 h 1578278"/>
                <a:gd name="connsiteX5" fmla="*/ 0 w 2302796"/>
                <a:gd name="connsiteY5" fmla="*/ 246450 h 1578278"/>
                <a:gd name="connsiteX6" fmla="*/ 279698 w 2302796"/>
                <a:gd name="connsiteY6" fmla="*/ 0 h 1578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796" h="1578278">
                  <a:moveTo>
                    <a:pt x="279698" y="0"/>
                  </a:moveTo>
                  <a:lnTo>
                    <a:pt x="2023098" y="0"/>
                  </a:lnTo>
                  <a:cubicBezTo>
                    <a:pt x="2177571" y="0"/>
                    <a:pt x="2302796" y="110340"/>
                    <a:pt x="2302796" y="246450"/>
                  </a:cubicBezTo>
                  <a:lnTo>
                    <a:pt x="2302796" y="1578278"/>
                  </a:lnTo>
                  <a:lnTo>
                    <a:pt x="0" y="1578278"/>
                  </a:lnTo>
                  <a:lnTo>
                    <a:pt x="0" y="246450"/>
                  </a:lnTo>
                  <a:cubicBezTo>
                    <a:pt x="0" y="110340"/>
                    <a:pt x="125225" y="0"/>
                    <a:pt x="27969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127000" dist="38100" dir="5400000" algn="t" rotWithShape="0">
                <a:schemeClr val="bg1">
                  <a:lumMod val="75000"/>
                  <a:alpha val="2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FCD5206E-7993-4FB7-9AA2-E01D5AE34FDD}"/>
                </a:ext>
              </a:extLst>
            </p:cNvPr>
            <p:cNvSpPr/>
            <p:nvPr userDrawn="1"/>
          </p:nvSpPr>
          <p:spPr>
            <a:xfrm>
              <a:off x="1657459" y="0"/>
              <a:ext cx="2302796" cy="1235308"/>
            </a:xfrm>
            <a:custGeom>
              <a:avLst/>
              <a:gdLst>
                <a:gd name="connsiteX0" fmla="*/ 0 w 2302796"/>
                <a:gd name="connsiteY0" fmla="*/ 0 h 1235308"/>
                <a:gd name="connsiteX1" fmla="*/ 2302796 w 2302796"/>
                <a:gd name="connsiteY1" fmla="*/ 0 h 1235308"/>
                <a:gd name="connsiteX2" fmla="*/ 2302796 w 2302796"/>
                <a:gd name="connsiteY2" fmla="*/ 988859 h 1235308"/>
                <a:gd name="connsiteX3" fmla="*/ 2023098 w 2302796"/>
                <a:gd name="connsiteY3" fmla="*/ 1235308 h 1235308"/>
                <a:gd name="connsiteX4" fmla="*/ 279698 w 2302796"/>
                <a:gd name="connsiteY4" fmla="*/ 1235308 h 1235308"/>
                <a:gd name="connsiteX5" fmla="*/ 0 w 2302796"/>
                <a:gd name="connsiteY5" fmla="*/ 988859 h 123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2796" h="1235308">
                  <a:moveTo>
                    <a:pt x="0" y="0"/>
                  </a:moveTo>
                  <a:lnTo>
                    <a:pt x="2302796" y="0"/>
                  </a:lnTo>
                  <a:lnTo>
                    <a:pt x="2302796" y="988859"/>
                  </a:lnTo>
                  <a:cubicBezTo>
                    <a:pt x="2302796" y="1124969"/>
                    <a:pt x="2177571" y="1235308"/>
                    <a:pt x="2023098" y="1235308"/>
                  </a:cubicBezTo>
                  <a:lnTo>
                    <a:pt x="279698" y="1235308"/>
                  </a:lnTo>
                  <a:cubicBezTo>
                    <a:pt x="125225" y="1235308"/>
                    <a:pt x="0" y="1124969"/>
                    <a:pt x="0" y="98885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127000" dist="38100" dir="5400000" algn="t" rotWithShape="0">
                <a:schemeClr val="bg1">
                  <a:lumMod val="75000"/>
                  <a:alpha val="2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AD7B1EFC-A99D-4A5E-AF21-4ECB997B73EA}"/>
                </a:ext>
              </a:extLst>
            </p:cNvPr>
            <p:cNvSpPr/>
            <p:nvPr userDrawn="1"/>
          </p:nvSpPr>
          <p:spPr>
            <a:xfrm>
              <a:off x="7154954" y="1524001"/>
              <a:ext cx="2302796" cy="2862780"/>
            </a:xfrm>
            <a:custGeom>
              <a:avLst/>
              <a:gdLst>
                <a:gd name="connsiteX0" fmla="*/ 209517 w 1724987"/>
                <a:gd name="connsiteY0" fmla="*/ 0 h 2433768"/>
                <a:gd name="connsiteX1" fmla="*/ 1515470 w 1724987"/>
                <a:gd name="connsiteY1" fmla="*/ 0 h 2433768"/>
                <a:gd name="connsiteX2" fmla="*/ 1724987 w 1724987"/>
                <a:gd name="connsiteY2" fmla="*/ 209517 h 2433768"/>
                <a:gd name="connsiteX3" fmla="*/ 1724987 w 1724987"/>
                <a:gd name="connsiteY3" fmla="*/ 2224251 h 2433768"/>
                <a:gd name="connsiteX4" fmla="*/ 1515470 w 1724987"/>
                <a:gd name="connsiteY4" fmla="*/ 2433768 h 2433768"/>
                <a:gd name="connsiteX5" fmla="*/ 209517 w 1724987"/>
                <a:gd name="connsiteY5" fmla="*/ 2433768 h 2433768"/>
                <a:gd name="connsiteX6" fmla="*/ 0 w 1724987"/>
                <a:gd name="connsiteY6" fmla="*/ 2224251 h 2433768"/>
                <a:gd name="connsiteX7" fmla="*/ 0 w 1724987"/>
                <a:gd name="connsiteY7" fmla="*/ 209517 h 2433768"/>
                <a:gd name="connsiteX8" fmla="*/ 209517 w 1724987"/>
                <a:gd name="connsiteY8" fmla="*/ 0 h 2433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24987" h="2433768">
                  <a:moveTo>
                    <a:pt x="209517" y="0"/>
                  </a:moveTo>
                  <a:lnTo>
                    <a:pt x="1515470" y="0"/>
                  </a:lnTo>
                  <a:cubicBezTo>
                    <a:pt x="1631183" y="0"/>
                    <a:pt x="1724987" y="93804"/>
                    <a:pt x="1724987" y="209517"/>
                  </a:cubicBezTo>
                  <a:lnTo>
                    <a:pt x="1724987" y="2224251"/>
                  </a:lnTo>
                  <a:cubicBezTo>
                    <a:pt x="1724987" y="2339964"/>
                    <a:pt x="1631183" y="2433768"/>
                    <a:pt x="1515470" y="2433768"/>
                  </a:cubicBezTo>
                  <a:lnTo>
                    <a:pt x="209517" y="2433768"/>
                  </a:lnTo>
                  <a:cubicBezTo>
                    <a:pt x="93804" y="2433768"/>
                    <a:pt x="0" y="2339964"/>
                    <a:pt x="0" y="2224251"/>
                  </a:cubicBezTo>
                  <a:lnTo>
                    <a:pt x="0" y="209517"/>
                  </a:lnTo>
                  <a:cubicBezTo>
                    <a:pt x="0" y="93804"/>
                    <a:pt x="93804" y="0"/>
                    <a:pt x="20951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127000" dist="38100" dir="5400000" algn="t" rotWithShape="0">
                <a:schemeClr val="bg1">
                  <a:lumMod val="75000"/>
                  <a:alpha val="2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87350039-246A-4A26-AA5B-AC578F9350AA}"/>
                </a:ext>
              </a:extLst>
            </p:cNvPr>
            <p:cNvSpPr/>
            <p:nvPr userDrawn="1"/>
          </p:nvSpPr>
          <p:spPr>
            <a:xfrm>
              <a:off x="9904539" y="1524001"/>
              <a:ext cx="1646918" cy="2862780"/>
            </a:xfrm>
            <a:custGeom>
              <a:avLst/>
              <a:gdLst>
                <a:gd name="connsiteX0" fmla="*/ 279698 w 1646918"/>
                <a:gd name="connsiteY0" fmla="*/ 0 h 2862780"/>
                <a:gd name="connsiteX1" fmla="*/ 1646918 w 1646918"/>
                <a:gd name="connsiteY1" fmla="*/ 0 h 2862780"/>
                <a:gd name="connsiteX2" fmla="*/ 1646918 w 1646918"/>
                <a:gd name="connsiteY2" fmla="*/ 2862780 h 2862780"/>
                <a:gd name="connsiteX3" fmla="*/ 279698 w 1646918"/>
                <a:gd name="connsiteY3" fmla="*/ 2862780 h 2862780"/>
                <a:gd name="connsiteX4" fmla="*/ 0 w 1646918"/>
                <a:gd name="connsiteY4" fmla="*/ 2616331 h 2862780"/>
                <a:gd name="connsiteX5" fmla="*/ 0 w 1646918"/>
                <a:gd name="connsiteY5" fmla="*/ 246450 h 2862780"/>
                <a:gd name="connsiteX6" fmla="*/ 279698 w 1646918"/>
                <a:gd name="connsiteY6" fmla="*/ 0 h 286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6918" h="2862780">
                  <a:moveTo>
                    <a:pt x="279698" y="0"/>
                  </a:moveTo>
                  <a:lnTo>
                    <a:pt x="1646918" y="0"/>
                  </a:lnTo>
                  <a:lnTo>
                    <a:pt x="1646918" y="2862780"/>
                  </a:lnTo>
                  <a:lnTo>
                    <a:pt x="279698" y="2862780"/>
                  </a:lnTo>
                  <a:cubicBezTo>
                    <a:pt x="125225" y="2862780"/>
                    <a:pt x="0" y="2752441"/>
                    <a:pt x="0" y="2616331"/>
                  </a:cubicBezTo>
                  <a:lnTo>
                    <a:pt x="0" y="246450"/>
                  </a:lnTo>
                  <a:cubicBezTo>
                    <a:pt x="0" y="110339"/>
                    <a:pt x="125225" y="0"/>
                    <a:pt x="27969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127000" dist="38100" dir="5400000" algn="t" rotWithShape="0">
                <a:schemeClr val="bg1">
                  <a:lumMod val="75000"/>
                  <a:alpha val="2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3" name="Picture Placeholder 62">
            <a:extLst>
              <a:ext uri="{FF2B5EF4-FFF2-40B4-BE49-F238E27FC236}">
                <a16:creationId xmlns:a16="http://schemas.microsoft.com/office/drawing/2014/main" id="{64F0C9B0-3BB1-42A0-AFE4-016549EA67C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028471" y="1678070"/>
            <a:ext cx="1522986" cy="2554642"/>
          </a:xfrm>
          <a:custGeom>
            <a:avLst/>
            <a:gdLst>
              <a:gd name="connsiteX0" fmla="*/ 249591 w 1522986"/>
              <a:gd name="connsiteY0" fmla="*/ 0 h 2554642"/>
              <a:gd name="connsiteX1" fmla="*/ 1522986 w 1522986"/>
              <a:gd name="connsiteY1" fmla="*/ 0 h 2554642"/>
              <a:gd name="connsiteX2" fmla="*/ 1522986 w 1522986"/>
              <a:gd name="connsiteY2" fmla="*/ 2554642 h 2554642"/>
              <a:gd name="connsiteX3" fmla="*/ 249591 w 1522986"/>
              <a:gd name="connsiteY3" fmla="*/ 2554642 h 2554642"/>
              <a:gd name="connsiteX4" fmla="*/ 0 w 1522986"/>
              <a:gd name="connsiteY4" fmla="*/ 2334720 h 2554642"/>
              <a:gd name="connsiteX5" fmla="*/ 0 w 1522986"/>
              <a:gd name="connsiteY5" fmla="*/ 219922 h 2554642"/>
              <a:gd name="connsiteX6" fmla="*/ 249591 w 1522986"/>
              <a:gd name="connsiteY6" fmla="*/ 0 h 2554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2986" h="2554642">
                <a:moveTo>
                  <a:pt x="249591" y="0"/>
                </a:moveTo>
                <a:lnTo>
                  <a:pt x="1522986" y="0"/>
                </a:lnTo>
                <a:lnTo>
                  <a:pt x="1522986" y="2554642"/>
                </a:lnTo>
                <a:lnTo>
                  <a:pt x="249591" y="2554642"/>
                </a:lnTo>
                <a:cubicBezTo>
                  <a:pt x="111746" y="2554642"/>
                  <a:pt x="0" y="2456180"/>
                  <a:pt x="0" y="2334720"/>
                </a:cubicBezTo>
                <a:lnTo>
                  <a:pt x="0" y="219922"/>
                </a:lnTo>
                <a:cubicBezTo>
                  <a:pt x="0" y="98463"/>
                  <a:pt x="111746" y="0"/>
                  <a:pt x="249591" y="0"/>
                </a:cubicBez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9A00435B-AB81-40F7-B7FB-FF63F695B3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78887" y="1678070"/>
            <a:ext cx="2054931" cy="2554642"/>
          </a:xfrm>
          <a:custGeom>
            <a:avLst/>
            <a:gdLst>
              <a:gd name="connsiteX0" fmla="*/ 249592 w 2054931"/>
              <a:gd name="connsiteY0" fmla="*/ 0 h 2554642"/>
              <a:gd name="connsiteX1" fmla="*/ 1805340 w 2054931"/>
              <a:gd name="connsiteY1" fmla="*/ 0 h 2554642"/>
              <a:gd name="connsiteX2" fmla="*/ 2054931 w 2054931"/>
              <a:gd name="connsiteY2" fmla="*/ 219922 h 2554642"/>
              <a:gd name="connsiteX3" fmla="*/ 2054931 w 2054931"/>
              <a:gd name="connsiteY3" fmla="*/ 2334720 h 2554642"/>
              <a:gd name="connsiteX4" fmla="*/ 1805340 w 2054931"/>
              <a:gd name="connsiteY4" fmla="*/ 2554642 h 2554642"/>
              <a:gd name="connsiteX5" fmla="*/ 249592 w 2054931"/>
              <a:gd name="connsiteY5" fmla="*/ 2554642 h 2554642"/>
              <a:gd name="connsiteX6" fmla="*/ 0 w 2054931"/>
              <a:gd name="connsiteY6" fmla="*/ 2334720 h 2554642"/>
              <a:gd name="connsiteX7" fmla="*/ 0 w 2054931"/>
              <a:gd name="connsiteY7" fmla="*/ 219922 h 2554642"/>
              <a:gd name="connsiteX8" fmla="*/ 249592 w 2054931"/>
              <a:gd name="connsiteY8" fmla="*/ 0 h 2554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54931" h="2554642">
                <a:moveTo>
                  <a:pt x="249592" y="0"/>
                </a:moveTo>
                <a:lnTo>
                  <a:pt x="1805340" y="0"/>
                </a:lnTo>
                <a:cubicBezTo>
                  <a:pt x="1943185" y="0"/>
                  <a:pt x="2054931" y="98463"/>
                  <a:pt x="2054931" y="219922"/>
                </a:cubicBezTo>
                <a:lnTo>
                  <a:pt x="2054931" y="2334720"/>
                </a:lnTo>
                <a:cubicBezTo>
                  <a:pt x="2054931" y="2456180"/>
                  <a:pt x="1943185" y="2554642"/>
                  <a:pt x="1805340" y="2554642"/>
                </a:cubicBezTo>
                <a:lnTo>
                  <a:pt x="249592" y="2554642"/>
                </a:lnTo>
                <a:cubicBezTo>
                  <a:pt x="111746" y="2554642"/>
                  <a:pt x="0" y="2456180"/>
                  <a:pt x="0" y="2334720"/>
                </a:cubicBezTo>
                <a:lnTo>
                  <a:pt x="0" y="219922"/>
                </a:lnTo>
                <a:cubicBezTo>
                  <a:pt x="0" y="98463"/>
                  <a:pt x="111746" y="0"/>
                  <a:pt x="249592" y="0"/>
                </a:cubicBez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5" name="Picture Placeholder 64">
            <a:extLst>
              <a:ext uri="{FF2B5EF4-FFF2-40B4-BE49-F238E27FC236}">
                <a16:creationId xmlns:a16="http://schemas.microsoft.com/office/drawing/2014/main" id="{5DF2E8F0-11E2-4E1E-9B8C-431C6119DB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797548" y="5433792"/>
            <a:ext cx="2054931" cy="1424209"/>
          </a:xfrm>
          <a:custGeom>
            <a:avLst/>
            <a:gdLst>
              <a:gd name="connsiteX0" fmla="*/ 249592 w 2054931"/>
              <a:gd name="connsiteY0" fmla="*/ 0 h 1424209"/>
              <a:gd name="connsiteX1" fmla="*/ 1805340 w 2054931"/>
              <a:gd name="connsiteY1" fmla="*/ 0 h 1424209"/>
              <a:gd name="connsiteX2" fmla="*/ 2054931 w 2054931"/>
              <a:gd name="connsiteY2" fmla="*/ 219922 h 1424209"/>
              <a:gd name="connsiteX3" fmla="*/ 2054931 w 2054931"/>
              <a:gd name="connsiteY3" fmla="*/ 1424209 h 1424209"/>
              <a:gd name="connsiteX4" fmla="*/ 0 w 2054931"/>
              <a:gd name="connsiteY4" fmla="*/ 1424209 h 1424209"/>
              <a:gd name="connsiteX5" fmla="*/ 0 w 2054931"/>
              <a:gd name="connsiteY5" fmla="*/ 219922 h 1424209"/>
              <a:gd name="connsiteX6" fmla="*/ 249592 w 2054931"/>
              <a:gd name="connsiteY6" fmla="*/ 0 h 1424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54931" h="1424209">
                <a:moveTo>
                  <a:pt x="249592" y="0"/>
                </a:moveTo>
                <a:lnTo>
                  <a:pt x="1805340" y="0"/>
                </a:lnTo>
                <a:cubicBezTo>
                  <a:pt x="1943185" y="0"/>
                  <a:pt x="2054931" y="98463"/>
                  <a:pt x="2054931" y="219922"/>
                </a:cubicBezTo>
                <a:lnTo>
                  <a:pt x="2054931" y="1424209"/>
                </a:lnTo>
                <a:lnTo>
                  <a:pt x="0" y="1424209"/>
                </a:lnTo>
                <a:lnTo>
                  <a:pt x="0" y="219922"/>
                </a:lnTo>
                <a:cubicBezTo>
                  <a:pt x="0" y="98463"/>
                  <a:pt x="111746" y="0"/>
                  <a:pt x="249592" y="0"/>
                </a:cubicBez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6" name="Picture Placeholder 65">
            <a:extLst>
              <a:ext uri="{FF2B5EF4-FFF2-40B4-BE49-F238E27FC236}">
                <a16:creationId xmlns:a16="http://schemas.microsoft.com/office/drawing/2014/main" id="{F16763F4-272C-4A22-B23F-13EF7B573B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797548" y="1678070"/>
            <a:ext cx="2054931" cy="2554642"/>
          </a:xfrm>
          <a:custGeom>
            <a:avLst/>
            <a:gdLst>
              <a:gd name="connsiteX0" fmla="*/ 249592 w 2054931"/>
              <a:gd name="connsiteY0" fmla="*/ 0 h 2554642"/>
              <a:gd name="connsiteX1" fmla="*/ 1805340 w 2054931"/>
              <a:gd name="connsiteY1" fmla="*/ 0 h 2554642"/>
              <a:gd name="connsiteX2" fmla="*/ 2054931 w 2054931"/>
              <a:gd name="connsiteY2" fmla="*/ 219922 h 2554642"/>
              <a:gd name="connsiteX3" fmla="*/ 2054931 w 2054931"/>
              <a:gd name="connsiteY3" fmla="*/ 2334720 h 2554642"/>
              <a:gd name="connsiteX4" fmla="*/ 1805340 w 2054931"/>
              <a:gd name="connsiteY4" fmla="*/ 2554642 h 2554642"/>
              <a:gd name="connsiteX5" fmla="*/ 249592 w 2054931"/>
              <a:gd name="connsiteY5" fmla="*/ 2554642 h 2554642"/>
              <a:gd name="connsiteX6" fmla="*/ 0 w 2054931"/>
              <a:gd name="connsiteY6" fmla="*/ 2334720 h 2554642"/>
              <a:gd name="connsiteX7" fmla="*/ 0 w 2054931"/>
              <a:gd name="connsiteY7" fmla="*/ 219922 h 2554642"/>
              <a:gd name="connsiteX8" fmla="*/ 249592 w 2054931"/>
              <a:gd name="connsiteY8" fmla="*/ 0 h 2554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54931" h="2554642">
                <a:moveTo>
                  <a:pt x="249592" y="0"/>
                </a:moveTo>
                <a:lnTo>
                  <a:pt x="1805340" y="0"/>
                </a:lnTo>
                <a:cubicBezTo>
                  <a:pt x="1943185" y="0"/>
                  <a:pt x="2054931" y="98463"/>
                  <a:pt x="2054931" y="219922"/>
                </a:cubicBezTo>
                <a:lnTo>
                  <a:pt x="2054931" y="2334720"/>
                </a:lnTo>
                <a:cubicBezTo>
                  <a:pt x="2054931" y="2456180"/>
                  <a:pt x="1943185" y="2554642"/>
                  <a:pt x="1805340" y="2554642"/>
                </a:cubicBezTo>
                <a:lnTo>
                  <a:pt x="249592" y="2554642"/>
                </a:lnTo>
                <a:cubicBezTo>
                  <a:pt x="111746" y="2554642"/>
                  <a:pt x="0" y="2456180"/>
                  <a:pt x="0" y="2334720"/>
                </a:cubicBezTo>
                <a:lnTo>
                  <a:pt x="0" y="219922"/>
                </a:lnTo>
                <a:cubicBezTo>
                  <a:pt x="0" y="98463"/>
                  <a:pt x="111746" y="0"/>
                  <a:pt x="249592" y="0"/>
                </a:cubicBez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7" name="Picture Placeholder 66">
            <a:extLst>
              <a:ext uri="{FF2B5EF4-FFF2-40B4-BE49-F238E27FC236}">
                <a16:creationId xmlns:a16="http://schemas.microsoft.com/office/drawing/2014/main" id="{68B8A607-5333-44A0-BDAB-ACBC961A1B0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781392" y="1"/>
            <a:ext cx="2054931" cy="1081239"/>
          </a:xfrm>
          <a:custGeom>
            <a:avLst/>
            <a:gdLst>
              <a:gd name="connsiteX0" fmla="*/ 0 w 2054931"/>
              <a:gd name="connsiteY0" fmla="*/ 0 h 1081239"/>
              <a:gd name="connsiteX1" fmla="*/ 2054931 w 2054931"/>
              <a:gd name="connsiteY1" fmla="*/ 0 h 1081239"/>
              <a:gd name="connsiteX2" fmla="*/ 2054931 w 2054931"/>
              <a:gd name="connsiteY2" fmla="*/ 861317 h 1081239"/>
              <a:gd name="connsiteX3" fmla="*/ 1805340 w 2054931"/>
              <a:gd name="connsiteY3" fmla="*/ 1081239 h 1081239"/>
              <a:gd name="connsiteX4" fmla="*/ 249592 w 2054931"/>
              <a:gd name="connsiteY4" fmla="*/ 1081239 h 1081239"/>
              <a:gd name="connsiteX5" fmla="*/ 0 w 2054931"/>
              <a:gd name="connsiteY5" fmla="*/ 861317 h 1081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54931" h="1081239">
                <a:moveTo>
                  <a:pt x="0" y="0"/>
                </a:moveTo>
                <a:lnTo>
                  <a:pt x="2054931" y="0"/>
                </a:lnTo>
                <a:lnTo>
                  <a:pt x="2054931" y="861317"/>
                </a:lnTo>
                <a:cubicBezTo>
                  <a:pt x="2054931" y="982777"/>
                  <a:pt x="1943185" y="1081239"/>
                  <a:pt x="1805340" y="1081239"/>
                </a:cubicBezTo>
                <a:lnTo>
                  <a:pt x="249592" y="1081239"/>
                </a:lnTo>
                <a:cubicBezTo>
                  <a:pt x="111746" y="1081239"/>
                  <a:pt x="0" y="982777"/>
                  <a:pt x="0" y="861317"/>
                </a:cubicBez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338B3CA0-8AA5-45F3-B721-3C29A066A8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678070"/>
            <a:ext cx="1055833" cy="2554642"/>
          </a:xfrm>
          <a:custGeom>
            <a:avLst/>
            <a:gdLst>
              <a:gd name="connsiteX0" fmla="*/ 0 w 1055833"/>
              <a:gd name="connsiteY0" fmla="*/ 0 h 2554642"/>
              <a:gd name="connsiteX1" fmla="*/ 806242 w 1055833"/>
              <a:gd name="connsiteY1" fmla="*/ 0 h 2554642"/>
              <a:gd name="connsiteX2" fmla="*/ 1055833 w 1055833"/>
              <a:gd name="connsiteY2" fmla="*/ 219922 h 2554642"/>
              <a:gd name="connsiteX3" fmla="*/ 1055833 w 1055833"/>
              <a:gd name="connsiteY3" fmla="*/ 2334720 h 2554642"/>
              <a:gd name="connsiteX4" fmla="*/ 806242 w 1055833"/>
              <a:gd name="connsiteY4" fmla="*/ 2554642 h 2554642"/>
              <a:gd name="connsiteX5" fmla="*/ 0 w 1055833"/>
              <a:gd name="connsiteY5" fmla="*/ 2554642 h 2554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55833" h="2554642">
                <a:moveTo>
                  <a:pt x="0" y="0"/>
                </a:moveTo>
                <a:lnTo>
                  <a:pt x="806242" y="0"/>
                </a:lnTo>
                <a:cubicBezTo>
                  <a:pt x="944087" y="0"/>
                  <a:pt x="1055833" y="98463"/>
                  <a:pt x="1055833" y="219922"/>
                </a:cubicBezTo>
                <a:lnTo>
                  <a:pt x="1055833" y="2334720"/>
                </a:lnTo>
                <a:cubicBezTo>
                  <a:pt x="1055833" y="2456180"/>
                  <a:pt x="944087" y="2554642"/>
                  <a:pt x="806242" y="2554642"/>
                </a:cubicBezTo>
                <a:lnTo>
                  <a:pt x="0" y="2554642"/>
                </a:ln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8323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0A899D5-1FD7-41E6-8231-5D755AE029F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8321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63">
            <a:extLst>
              <a:ext uri="{FF2B5EF4-FFF2-40B4-BE49-F238E27FC236}">
                <a16:creationId xmlns:a16="http://schemas.microsoft.com/office/drawing/2014/main" id="{279B95B6-1569-409E-9236-38C662B7B66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50810" y="3091641"/>
            <a:ext cx="1658012" cy="2061202"/>
          </a:xfrm>
          <a:custGeom>
            <a:avLst/>
            <a:gdLst>
              <a:gd name="connsiteX0" fmla="*/ 249592 w 2054931"/>
              <a:gd name="connsiteY0" fmla="*/ 0 h 2554642"/>
              <a:gd name="connsiteX1" fmla="*/ 1805340 w 2054931"/>
              <a:gd name="connsiteY1" fmla="*/ 0 h 2554642"/>
              <a:gd name="connsiteX2" fmla="*/ 2054931 w 2054931"/>
              <a:gd name="connsiteY2" fmla="*/ 219922 h 2554642"/>
              <a:gd name="connsiteX3" fmla="*/ 2054931 w 2054931"/>
              <a:gd name="connsiteY3" fmla="*/ 2334720 h 2554642"/>
              <a:gd name="connsiteX4" fmla="*/ 1805340 w 2054931"/>
              <a:gd name="connsiteY4" fmla="*/ 2554642 h 2554642"/>
              <a:gd name="connsiteX5" fmla="*/ 249592 w 2054931"/>
              <a:gd name="connsiteY5" fmla="*/ 2554642 h 2554642"/>
              <a:gd name="connsiteX6" fmla="*/ 0 w 2054931"/>
              <a:gd name="connsiteY6" fmla="*/ 2334720 h 2554642"/>
              <a:gd name="connsiteX7" fmla="*/ 0 w 2054931"/>
              <a:gd name="connsiteY7" fmla="*/ 219922 h 2554642"/>
              <a:gd name="connsiteX8" fmla="*/ 249592 w 2054931"/>
              <a:gd name="connsiteY8" fmla="*/ 0 h 2554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54931" h="2554642">
                <a:moveTo>
                  <a:pt x="249592" y="0"/>
                </a:moveTo>
                <a:lnTo>
                  <a:pt x="1805340" y="0"/>
                </a:lnTo>
                <a:cubicBezTo>
                  <a:pt x="1943185" y="0"/>
                  <a:pt x="2054931" y="98463"/>
                  <a:pt x="2054931" y="219922"/>
                </a:cubicBezTo>
                <a:lnTo>
                  <a:pt x="2054931" y="2334720"/>
                </a:lnTo>
                <a:cubicBezTo>
                  <a:pt x="2054931" y="2456180"/>
                  <a:pt x="1943185" y="2554642"/>
                  <a:pt x="1805340" y="2554642"/>
                </a:cubicBezTo>
                <a:lnTo>
                  <a:pt x="249592" y="2554642"/>
                </a:lnTo>
                <a:cubicBezTo>
                  <a:pt x="111746" y="2554642"/>
                  <a:pt x="0" y="2456180"/>
                  <a:pt x="0" y="2334720"/>
                </a:cubicBezTo>
                <a:lnTo>
                  <a:pt x="0" y="219922"/>
                </a:lnTo>
                <a:cubicBezTo>
                  <a:pt x="0" y="98463"/>
                  <a:pt x="111746" y="0"/>
                  <a:pt x="249592" y="0"/>
                </a:cubicBez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Picture Placeholder 63">
            <a:extLst>
              <a:ext uri="{FF2B5EF4-FFF2-40B4-BE49-F238E27FC236}">
                <a16:creationId xmlns:a16="http://schemas.microsoft.com/office/drawing/2014/main" id="{BEF2FD58-728B-4F45-BB04-475A4483BD2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963060" y="3088930"/>
            <a:ext cx="1658012" cy="2061202"/>
          </a:xfrm>
          <a:custGeom>
            <a:avLst/>
            <a:gdLst>
              <a:gd name="connsiteX0" fmla="*/ 249592 w 2054931"/>
              <a:gd name="connsiteY0" fmla="*/ 0 h 2554642"/>
              <a:gd name="connsiteX1" fmla="*/ 1805340 w 2054931"/>
              <a:gd name="connsiteY1" fmla="*/ 0 h 2554642"/>
              <a:gd name="connsiteX2" fmla="*/ 2054931 w 2054931"/>
              <a:gd name="connsiteY2" fmla="*/ 219922 h 2554642"/>
              <a:gd name="connsiteX3" fmla="*/ 2054931 w 2054931"/>
              <a:gd name="connsiteY3" fmla="*/ 2334720 h 2554642"/>
              <a:gd name="connsiteX4" fmla="*/ 1805340 w 2054931"/>
              <a:gd name="connsiteY4" fmla="*/ 2554642 h 2554642"/>
              <a:gd name="connsiteX5" fmla="*/ 249592 w 2054931"/>
              <a:gd name="connsiteY5" fmla="*/ 2554642 h 2554642"/>
              <a:gd name="connsiteX6" fmla="*/ 0 w 2054931"/>
              <a:gd name="connsiteY6" fmla="*/ 2334720 h 2554642"/>
              <a:gd name="connsiteX7" fmla="*/ 0 w 2054931"/>
              <a:gd name="connsiteY7" fmla="*/ 219922 h 2554642"/>
              <a:gd name="connsiteX8" fmla="*/ 249592 w 2054931"/>
              <a:gd name="connsiteY8" fmla="*/ 0 h 2554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54931" h="2554642">
                <a:moveTo>
                  <a:pt x="249592" y="0"/>
                </a:moveTo>
                <a:lnTo>
                  <a:pt x="1805340" y="0"/>
                </a:lnTo>
                <a:cubicBezTo>
                  <a:pt x="1943185" y="0"/>
                  <a:pt x="2054931" y="98463"/>
                  <a:pt x="2054931" y="219922"/>
                </a:cubicBezTo>
                <a:lnTo>
                  <a:pt x="2054931" y="2334720"/>
                </a:lnTo>
                <a:cubicBezTo>
                  <a:pt x="2054931" y="2456180"/>
                  <a:pt x="1943185" y="2554642"/>
                  <a:pt x="1805340" y="2554642"/>
                </a:cubicBezTo>
                <a:lnTo>
                  <a:pt x="249592" y="2554642"/>
                </a:lnTo>
                <a:cubicBezTo>
                  <a:pt x="111746" y="2554642"/>
                  <a:pt x="0" y="2456180"/>
                  <a:pt x="0" y="2334720"/>
                </a:cubicBezTo>
                <a:lnTo>
                  <a:pt x="0" y="219922"/>
                </a:lnTo>
                <a:cubicBezTo>
                  <a:pt x="0" y="98463"/>
                  <a:pt x="111746" y="0"/>
                  <a:pt x="249592" y="0"/>
                </a:cubicBez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Picture Placeholder 63">
            <a:extLst>
              <a:ext uri="{FF2B5EF4-FFF2-40B4-BE49-F238E27FC236}">
                <a16:creationId xmlns:a16="http://schemas.microsoft.com/office/drawing/2014/main" id="{B2E864A9-F636-4380-ABAF-88AD70C1161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47780" y="3088930"/>
            <a:ext cx="1658012" cy="2061202"/>
          </a:xfrm>
          <a:custGeom>
            <a:avLst/>
            <a:gdLst>
              <a:gd name="connsiteX0" fmla="*/ 249592 w 2054931"/>
              <a:gd name="connsiteY0" fmla="*/ 0 h 2554642"/>
              <a:gd name="connsiteX1" fmla="*/ 1805340 w 2054931"/>
              <a:gd name="connsiteY1" fmla="*/ 0 h 2554642"/>
              <a:gd name="connsiteX2" fmla="*/ 2054931 w 2054931"/>
              <a:gd name="connsiteY2" fmla="*/ 219922 h 2554642"/>
              <a:gd name="connsiteX3" fmla="*/ 2054931 w 2054931"/>
              <a:gd name="connsiteY3" fmla="*/ 2334720 h 2554642"/>
              <a:gd name="connsiteX4" fmla="*/ 1805340 w 2054931"/>
              <a:gd name="connsiteY4" fmla="*/ 2554642 h 2554642"/>
              <a:gd name="connsiteX5" fmla="*/ 249592 w 2054931"/>
              <a:gd name="connsiteY5" fmla="*/ 2554642 h 2554642"/>
              <a:gd name="connsiteX6" fmla="*/ 0 w 2054931"/>
              <a:gd name="connsiteY6" fmla="*/ 2334720 h 2554642"/>
              <a:gd name="connsiteX7" fmla="*/ 0 w 2054931"/>
              <a:gd name="connsiteY7" fmla="*/ 219922 h 2554642"/>
              <a:gd name="connsiteX8" fmla="*/ 249592 w 2054931"/>
              <a:gd name="connsiteY8" fmla="*/ 0 h 2554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54931" h="2554642">
                <a:moveTo>
                  <a:pt x="249592" y="0"/>
                </a:moveTo>
                <a:lnTo>
                  <a:pt x="1805340" y="0"/>
                </a:lnTo>
                <a:cubicBezTo>
                  <a:pt x="1943185" y="0"/>
                  <a:pt x="2054931" y="98463"/>
                  <a:pt x="2054931" y="219922"/>
                </a:cubicBezTo>
                <a:lnTo>
                  <a:pt x="2054931" y="2334720"/>
                </a:lnTo>
                <a:cubicBezTo>
                  <a:pt x="2054931" y="2456180"/>
                  <a:pt x="1943185" y="2554642"/>
                  <a:pt x="1805340" y="2554642"/>
                </a:cubicBezTo>
                <a:lnTo>
                  <a:pt x="249592" y="2554642"/>
                </a:lnTo>
                <a:cubicBezTo>
                  <a:pt x="111746" y="2554642"/>
                  <a:pt x="0" y="2456180"/>
                  <a:pt x="0" y="2334720"/>
                </a:cubicBezTo>
                <a:lnTo>
                  <a:pt x="0" y="219922"/>
                </a:lnTo>
                <a:cubicBezTo>
                  <a:pt x="0" y="98463"/>
                  <a:pt x="111746" y="0"/>
                  <a:pt x="249592" y="0"/>
                </a:cubicBez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Picture Placeholder 63">
            <a:extLst>
              <a:ext uri="{FF2B5EF4-FFF2-40B4-BE49-F238E27FC236}">
                <a16:creationId xmlns:a16="http://schemas.microsoft.com/office/drawing/2014/main" id="{06653C03-D33C-4FC8-B02C-B2850E9A205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91222" y="3088930"/>
            <a:ext cx="1658012" cy="2061202"/>
          </a:xfrm>
          <a:custGeom>
            <a:avLst/>
            <a:gdLst>
              <a:gd name="connsiteX0" fmla="*/ 249592 w 2054931"/>
              <a:gd name="connsiteY0" fmla="*/ 0 h 2554642"/>
              <a:gd name="connsiteX1" fmla="*/ 1805340 w 2054931"/>
              <a:gd name="connsiteY1" fmla="*/ 0 h 2554642"/>
              <a:gd name="connsiteX2" fmla="*/ 2054931 w 2054931"/>
              <a:gd name="connsiteY2" fmla="*/ 219922 h 2554642"/>
              <a:gd name="connsiteX3" fmla="*/ 2054931 w 2054931"/>
              <a:gd name="connsiteY3" fmla="*/ 2334720 h 2554642"/>
              <a:gd name="connsiteX4" fmla="*/ 1805340 w 2054931"/>
              <a:gd name="connsiteY4" fmla="*/ 2554642 h 2554642"/>
              <a:gd name="connsiteX5" fmla="*/ 249592 w 2054931"/>
              <a:gd name="connsiteY5" fmla="*/ 2554642 h 2554642"/>
              <a:gd name="connsiteX6" fmla="*/ 0 w 2054931"/>
              <a:gd name="connsiteY6" fmla="*/ 2334720 h 2554642"/>
              <a:gd name="connsiteX7" fmla="*/ 0 w 2054931"/>
              <a:gd name="connsiteY7" fmla="*/ 219922 h 2554642"/>
              <a:gd name="connsiteX8" fmla="*/ 249592 w 2054931"/>
              <a:gd name="connsiteY8" fmla="*/ 0 h 2554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54931" h="2554642">
                <a:moveTo>
                  <a:pt x="249592" y="0"/>
                </a:moveTo>
                <a:lnTo>
                  <a:pt x="1805340" y="0"/>
                </a:lnTo>
                <a:cubicBezTo>
                  <a:pt x="1943185" y="0"/>
                  <a:pt x="2054931" y="98463"/>
                  <a:pt x="2054931" y="219922"/>
                </a:cubicBezTo>
                <a:lnTo>
                  <a:pt x="2054931" y="2334720"/>
                </a:lnTo>
                <a:cubicBezTo>
                  <a:pt x="2054931" y="2456180"/>
                  <a:pt x="1943185" y="2554642"/>
                  <a:pt x="1805340" y="2554642"/>
                </a:cubicBezTo>
                <a:lnTo>
                  <a:pt x="249592" y="2554642"/>
                </a:lnTo>
                <a:cubicBezTo>
                  <a:pt x="111746" y="2554642"/>
                  <a:pt x="0" y="2456180"/>
                  <a:pt x="0" y="2334720"/>
                </a:cubicBezTo>
                <a:lnTo>
                  <a:pt x="0" y="219922"/>
                </a:lnTo>
                <a:cubicBezTo>
                  <a:pt x="0" y="98463"/>
                  <a:pt x="111746" y="0"/>
                  <a:pt x="249592" y="0"/>
                </a:cubicBez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Picture Placeholder 63">
            <a:extLst>
              <a:ext uri="{FF2B5EF4-FFF2-40B4-BE49-F238E27FC236}">
                <a16:creationId xmlns:a16="http://schemas.microsoft.com/office/drawing/2014/main" id="{8CEEC702-8112-4AC9-B168-74FD69014B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67376" y="1502234"/>
            <a:ext cx="2521849" cy="4363453"/>
          </a:xfrm>
          <a:custGeom>
            <a:avLst/>
            <a:gdLst>
              <a:gd name="connsiteX0" fmla="*/ 249592 w 2054931"/>
              <a:gd name="connsiteY0" fmla="*/ 0 h 2554642"/>
              <a:gd name="connsiteX1" fmla="*/ 1805340 w 2054931"/>
              <a:gd name="connsiteY1" fmla="*/ 0 h 2554642"/>
              <a:gd name="connsiteX2" fmla="*/ 2054931 w 2054931"/>
              <a:gd name="connsiteY2" fmla="*/ 219922 h 2554642"/>
              <a:gd name="connsiteX3" fmla="*/ 2054931 w 2054931"/>
              <a:gd name="connsiteY3" fmla="*/ 2334720 h 2554642"/>
              <a:gd name="connsiteX4" fmla="*/ 1805340 w 2054931"/>
              <a:gd name="connsiteY4" fmla="*/ 2554642 h 2554642"/>
              <a:gd name="connsiteX5" fmla="*/ 249592 w 2054931"/>
              <a:gd name="connsiteY5" fmla="*/ 2554642 h 2554642"/>
              <a:gd name="connsiteX6" fmla="*/ 0 w 2054931"/>
              <a:gd name="connsiteY6" fmla="*/ 2334720 h 2554642"/>
              <a:gd name="connsiteX7" fmla="*/ 0 w 2054931"/>
              <a:gd name="connsiteY7" fmla="*/ 219922 h 2554642"/>
              <a:gd name="connsiteX8" fmla="*/ 249592 w 2054931"/>
              <a:gd name="connsiteY8" fmla="*/ 0 h 2554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54931" h="2554642">
                <a:moveTo>
                  <a:pt x="249592" y="0"/>
                </a:moveTo>
                <a:lnTo>
                  <a:pt x="1805340" y="0"/>
                </a:lnTo>
                <a:cubicBezTo>
                  <a:pt x="1943185" y="0"/>
                  <a:pt x="2054931" y="98463"/>
                  <a:pt x="2054931" y="219922"/>
                </a:cubicBezTo>
                <a:lnTo>
                  <a:pt x="2054931" y="2334720"/>
                </a:lnTo>
                <a:cubicBezTo>
                  <a:pt x="2054931" y="2456180"/>
                  <a:pt x="1943185" y="2554642"/>
                  <a:pt x="1805340" y="2554642"/>
                </a:cubicBezTo>
                <a:lnTo>
                  <a:pt x="249592" y="2554642"/>
                </a:lnTo>
                <a:cubicBezTo>
                  <a:pt x="111746" y="2554642"/>
                  <a:pt x="0" y="2456180"/>
                  <a:pt x="0" y="2334720"/>
                </a:cubicBezTo>
                <a:lnTo>
                  <a:pt x="0" y="219922"/>
                </a:lnTo>
                <a:cubicBezTo>
                  <a:pt x="0" y="98463"/>
                  <a:pt x="111746" y="0"/>
                  <a:pt x="249592" y="0"/>
                </a:cubicBez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5246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63">
            <a:extLst>
              <a:ext uri="{FF2B5EF4-FFF2-40B4-BE49-F238E27FC236}">
                <a16:creationId xmlns:a16="http://schemas.microsoft.com/office/drawing/2014/main" id="{C9601528-BE2C-414D-863B-A6D955B9A1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756611"/>
            <a:ext cx="4908884" cy="2883211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612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63">
            <a:extLst>
              <a:ext uri="{FF2B5EF4-FFF2-40B4-BE49-F238E27FC236}">
                <a16:creationId xmlns:a16="http://schemas.microsoft.com/office/drawing/2014/main" id="{53A9E5B3-505E-409D-A92C-F8D26361D6D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591177" y="1210532"/>
            <a:ext cx="2837906" cy="4436937"/>
          </a:xfrm>
          <a:custGeom>
            <a:avLst/>
            <a:gdLst>
              <a:gd name="connsiteX0" fmla="*/ 249592 w 2054931"/>
              <a:gd name="connsiteY0" fmla="*/ 0 h 2554642"/>
              <a:gd name="connsiteX1" fmla="*/ 1805340 w 2054931"/>
              <a:gd name="connsiteY1" fmla="*/ 0 h 2554642"/>
              <a:gd name="connsiteX2" fmla="*/ 2054931 w 2054931"/>
              <a:gd name="connsiteY2" fmla="*/ 219922 h 2554642"/>
              <a:gd name="connsiteX3" fmla="*/ 2054931 w 2054931"/>
              <a:gd name="connsiteY3" fmla="*/ 2334720 h 2554642"/>
              <a:gd name="connsiteX4" fmla="*/ 1805340 w 2054931"/>
              <a:gd name="connsiteY4" fmla="*/ 2554642 h 2554642"/>
              <a:gd name="connsiteX5" fmla="*/ 249592 w 2054931"/>
              <a:gd name="connsiteY5" fmla="*/ 2554642 h 2554642"/>
              <a:gd name="connsiteX6" fmla="*/ 0 w 2054931"/>
              <a:gd name="connsiteY6" fmla="*/ 2334720 h 2554642"/>
              <a:gd name="connsiteX7" fmla="*/ 0 w 2054931"/>
              <a:gd name="connsiteY7" fmla="*/ 219922 h 2554642"/>
              <a:gd name="connsiteX8" fmla="*/ 249592 w 2054931"/>
              <a:gd name="connsiteY8" fmla="*/ 0 h 2554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54931" h="2554642">
                <a:moveTo>
                  <a:pt x="249592" y="0"/>
                </a:moveTo>
                <a:lnTo>
                  <a:pt x="1805340" y="0"/>
                </a:lnTo>
                <a:cubicBezTo>
                  <a:pt x="1943185" y="0"/>
                  <a:pt x="2054931" y="98463"/>
                  <a:pt x="2054931" y="219922"/>
                </a:cubicBezTo>
                <a:lnTo>
                  <a:pt x="2054931" y="2334720"/>
                </a:lnTo>
                <a:cubicBezTo>
                  <a:pt x="2054931" y="2456180"/>
                  <a:pt x="1943185" y="2554642"/>
                  <a:pt x="1805340" y="2554642"/>
                </a:cubicBezTo>
                <a:lnTo>
                  <a:pt x="249592" y="2554642"/>
                </a:lnTo>
                <a:cubicBezTo>
                  <a:pt x="111746" y="2554642"/>
                  <a:pt x="0" y="2456180"/>
                  <a:pt x="0" y="2334720"/>
                </a:cubicBezTo>
                <a:lnTo>
                  <a:pt x="0" y="219922"/>
                </a:lnTo>
                <a:cubicBezTo>
                  <a:pt x="0" y="98463"/>
                  <a:pt x="111746" y="0"/>
                  <a:pt x="249592" y="0"/>
                </a:cubicBez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1626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A13CF4D1-ABE7-4EF6-AAD9-D1BFAA76931C}"/>
              </a:ext>
            </a:extLst>
          </p:cNvPr>
          <p:cNvGrpSpPr/>
          <p:nvPr userDrawn="1"/>
        </p:nvGrpSpPr>
        <p:grpSpPr>
          <a:xfrm>
            <a:off x="1172996" y="2374939"/>
            <a:ext cx="9536328" cy="3392906"/>
            <a:chOff x="1172996" y="2374939"/>
            <a:chExt cx="9536328" cy="3392906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6D30B58-5DAC-4FC0-834C-27234FAA3AAC}"/>
                </a:ext>
              </a:extLst>
            </p:cNvPr>
            <p:cNvSpPr/>
            <p:nvPr userDrawn="1"/>
          </p:nvSpPr>
          <p:spPr>
            <a:xfrm>
              <a:off x="1172996" y="2374939"/>
              <a:ext cx="4379544" cy="33929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dist="38100" dir="5400000" rotWithShape="0">
                <a:schemeClr val="bg1">
                  <a:lumMod val="75000"/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7E6931B-E235-4C24-9BC8-E31A7E870110}"/>
                </a:ext>
              </a:extLst>
            </p:cNvPr>
            <p:cNvSpPr/>
            <p:nvPr userDrawn="1"/>
          </p:nvSpPr>
          <p:spPr>
            <a:xfrm>
              <a:off x="6329780" y="2374939"/>
              <a:ext cx="4379544" cy="33929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dist="38100" dir="5400000" rotWithShape="0">
                <a:schemeClr val="bg1">
                  <a:lumMod val="75000"/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27707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A9350FF-12C9-4839-8A5A-9C41348C6035}"/>
              </a:ext>
            </a:extLst>
          </p:cNvPr>
          <p:cNvSpPr/>
          <p:nvPr userDrawn="1"/>
        </p:nvSpPr>
        <p:spPr>
          <a:xfrm>
            <a:off x="1162563" y="845127"/>
            <a:ext cx="4450362" cy="527858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15900" dist="38100" dir="5400000" algn="t" rotWithShape="0">
              <a:schemeClr val="bg1">
                <a:lumMod val="75000"/>
                <a:alpha val="2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75738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EC79083-4048-4A0D-91AB-C291682C28B0}"/>
              </a:ext>
            </a:extLst>
          </p:cNvPr>
          <p:cNvGrpSpPr/>
          <p:nvPr userDrawn="1"/>
        </p:nvGrpSpPr>
        <p:grpSpPr>
          <a:xfrm>
            <a:off x="1713572" y="2646835"/>
            <a:ext cx="8414526" cy="3396274"/>
            <a:chOff x="1713572" y="2646835"/>
            <a:chExt cx="8414526" cy="3396274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F3CBADE6-8450-428C-89F7-FEA29E0C5C6E}"/>
                </a:ext>
              </a:extLst>
            </p:cNvPr>
            <p:cNvSpPr/>
            <p:nvPr userDrawn="1"/>
          </p:nvSpPr>
          <p:spPr>
            <a:xfrm>
              <a:off x="1713572" y="2646835"/>
              <a:ext cx="2303202" cy="3396274"/>
            </a:xfrm>
            <a:prstGeom prst="roundRect">
              <a:avLst>
                <a:gd name="adj" fmla="val 6334"/>
              </a:avLst>
            </a:prstGeom>
            <a:gradFill>
              <a:gsLst>
                <a:gs pos="11000">
                  <a:srgbClr val="31C9A2"/>
                </a:gs>
                <a:gs pos="100000">
                  <a:srgbClr val="2A94DD"/>
                </a:gs>
              </a:gsLst>
              <a:lin ang="8100000" scaled="1"/>
            </a:gradFill>
            <a:ln>
              <a:noFill/>
            </a:ln>
            <a:effectLst>
              <a:outerShdw blurRad="215900" dist="38100" dir="5400000" algn="ctr" rotWithShape="0">
                <a:schemeClr val="bg1">
                  <a:lumMod val="75000"/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C3B8CC76-F238-4917-8D42-32EB71F9DD87}"/>
                </a:ext>
              </a:extLst>
            </p:cNvPr>
            <p:cNvSpPr/>
            <p:nvPr userDrawn="1"/>
          </p:nvSpPr>
          <p:spPr>
            <a:xfrm>
              <a:off x="7824896" y="2646835"/>
              <a:ext cx="2303202" cy="3396274"/>
            </a:xfrm>
            <a:prstGeom prst="roundRect">
              <a:avLst>
                <a:gd name="adj" fmla="val 6334"/>
              </a:avLst>
            </a:prstGeom>
            <a:solidFill>
              <a:schemeClr val="bg1"/>
            </a:solidFill>
            <a:ln>
              <a:noFill/>
            </a:ln>
            <a:effectLst>
              <a:outerShdw blurRad="215900" dist="38100" dir="5400000" algn="ctr" rotWithShape="0">
                <a:schemeClr val="bg1">
                  <a:lumMod val="75000"/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AC9CF5AA-ED8C-4C4D-8DC7-3FC9F0E3FDE4}"/>
                </a:ext>
              </a:extLst>
            </p:cNvPr>
            <p:cNvSpPr/>
            <p:nvPr userDrawn="1"/>
          </p:nvSpPr>
          <p:spPr>
            <a:xfrm>
              <a:off x="4770888" y="2646835"/>
              <a:ext cx="2303202" cy="3396274"/>
            </a:xfrm>
            <a:prstGeom prst="roundRect">
              <a:avLst>
                <a:gd name="adj" fmla="val 6334"/>
              </a:avLst>
            </a:prstGeom>
            <a:solidFill>
              <a:schemeClr val="bg1"/>
            </a:solidFill>
            <a:ln>
              <a:noFill/>
            </a:ln>
            <a:effectLst>
              <a:outerShdw blurRad="215900" dist="38100" dir="5400000" algn="ctr" rotWithShape="0">
                <a:schemeClr val="bg1">
                  <a:lumMod val="75000"/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16077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29DF0D4C-9B58-4BC6-91E0-3B6E146E0CC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-1" y="3219450"/>
            <a:ext cx="11560710" cy="3638550"/>
          </a:xfrm>
          <a:custGeom>
            <a:avLst/>
            <a:gdLst>
              <a:gd name="connsiteX0" fmla="*/ 0 w 11560710"/>
              <a:gd name="connsiteY0" fmla="*/ 0 h 3638550"/>
              <a:gd name="connsiteX1" fmla="*/ 6497893 w 11560710"/>
              <a:gd name="connsiteY1" fmla="*/ 0 h 3638550"/>
              <a:gd name="connsiteX2" fmla="*/ 6497893 w 11560710"/>
              <a:gd name="connsiteY2" fmla="*/ 1485901 h 3638550"/>
              <a:gd name="connsiteX3" fmla="*/ 7348999 w 11560710"/>
              <a:gd name="connsiteY3" fmla="*/ 1485901 h 3638550"/>
              <a:gd name="connsiteX4" fmla="*/ 7348999 w 11560710"/>
              <a:gd name="connsiteY4" fmla="*/ 2680009 h 3638550"/>
              <a:gd name="connsiteX5" fmla="*/ 10709343 w 11560710"/>
              <a:gd name="connsiteY5" fmla="*/ 2680009 h 3638550"/>
              <a:gd name="connsiteX6" fmla="*/ 10709343 w 11560710"/>
              <a:gd name="connsiteY6" fmla="*/ 1485901 h 3638550"/>
              <a:gd name="connsiteX7" fmla="*/ 11560449 w 11560710"/>
              <a:gd name="connsiteY7" fmla="*/ 1485901 h 3638550"/>
              <a:gd name="connsiteX8" fmla="*/ 11560449 w 11560710"/>
              <a:gd name="connsiteY8" fmla="*/ 0 h 3638550"/>
              <a:gd name="connsiteX9" fmla="*/ 11560710 w 11560710"/>
              <a:gd name="connsiteY9" fmla="*/ 0 h 3638550"/>
              <a:gd name="connsiteX10" fmla="*/ 11560710 w 11560710"/>
              <a:gd name="connsiteY10" fmla="*/ 3638550 h 3638550"/>
              <a:gd name="connsiteX11" fmla="*/ 0 w 11560710"/>
              <a:gd name="connsiteY11" fmla="*/ 3638550 h 3638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560710" h="3638550">
                <a:moveTo>
                  <a:pt x="0" y="0"/>
                </a:moveTo>
                <a:lnTo>
                  <a:pt x="6497893" y="0"/>
                </a:lnTo>
                <a:lnTo>
                  <a:pt x="6497893" y="1485901"/>
                </a:lnTo>
                <a:lnTo>
                  <a:pt x="7348999" y="1485901"/>
                </a:lnTo>
                <a:lnTo>
                  <a:pt x="7348999" y="2680009"/>
                </a:lnTo>
                <a:lnTo>
                  <a:pt x="10709343" y="2680009"/>
                </a:lnTo>
                <a:lnTo>
                  <a:pt x="10709343" y="1485901"/>
                </a:lnTo>
                <a:lnTo>
                  <a:pt x="11560449" y="1485901"/>
                </a:lnTo>
                <a:lnTo>
                  <a:pt x="11560449" y="0"/>
                </a:lnTo>
                <a:lnTo>
                  <a:pt x="11560710" y="0"/>
                </a:lnTo>
                <a:lnTo>
                  <a:pt x="11560710" y="3638550"/>
                </a:lnTo>
                <a:lnTo>
                  <a:pt x="0" y="3638550"/>
                </a:ln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BF05FAF-CCF6-4AAE-B850-15856F5504EF}"/>
              </a:ext>
            </a:extLst>
          </p:cNvPr>
          <p:cNvGrpSpPr/>
          <p:nvPr userDrawn="1"/>
        </p:nvGrpSpPr>
        <p:grpSpPr>
          <a:xfrm>
            <a:off x="6497892" y="1"/>
            <a:ext cx="5062556" cy="5899458"/>
            <a:chOff x="6497892" y="1"/>
            <a:chExt cx="5062556" cy="5899458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8B77BE9-F942-494C-8A06-457AB175A3A1}"/>
                </a:ext>
              </a:extLst>
            </p:cNvPr>
            <p:cNvSpPr/>
            <p:nvPr userDrawn="1"/>
          </p:nvSpPr>
          <p:spPr>
            <a:xfrm>
              <a:off x="6497892" y="1"/>
              <a:ext cx="5062556" cy="4705350"/>
            </a:xfrm>
            <a:prstGeom prst="rect">
              <a:avLst/>
            </a:prstGeom>
            <a:gradFill>
              <a:gsLst>
                <a:gs pos="11000">
                  <a:srgbClr val="31C9A2"/>
                </a:gs>
                <a:gs pos="100000">
                  <a:srgbClr val="2A94DD"/>
                </a:gs>
              </a:gsLst>
              <a:lin ang="8100000" scaled="1"/>
            </a:gradFill>
            <a:ln>
              <a:noFill/>
            </a:ln>
            <a:effectLst>
              <a:outerShdw blurRad="215900" dist="38100" dir="5400000" algn="ctr" rotWithShape="0">
                <a:schemeClr val="bg1">
                  <a:lumMod val="75000"/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151B8CE-5938-4C47-853C-C42E610DF1B8}"/>
                </a:ext>
              </a:extLst>
            </p:cNvPr>
            <p:cNvSpPr/>
            <p:nvPr userDrawn="1"/>
          </p:nvSpPr>
          <p:spPr>
            <a:xfrm>
              <a:off x="7348998" y="2554613"/>
              <a:ext cx="3360344" cy="33448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dist="38100" dir="5400000" algn="ctr" rotWithShape="0">
                <a:schemeClr val="bg1">
                  <a:lumMod val="75000"/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58443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F1FEA92-E389-4B98-936D-B20E3A07FAD0}"/>
              </a:ext>
            </a:extLst>
          </p:cNvPr>
          <p:cNvGrpSpPr/>
          <p:nvPr userDrawn="1"/>
        </p:nvGrpSpPr>
        <p:grpSpPr>
          <a:xfrm>
            <a:off x="485661" y="632010"/>
            <a:ext cx="11074759" cy="5593980"/>
            <a:chOff x="485661" y="632010"/>
            <a:chExt cx="11074759" cy="5593980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8DAED97-581E-46FD-A450-DDF83E7B78E1}"/>
                </a:ext>
              </a:extLst>
            </p:cNvPr>
            <p:cNvSpPr/>
            <p:nvPr userDrawn="1"/>
          </p:nvSpPr>
          <p:spPr>
            <a:xfrm>
              <a:off x="1056315" y="632010"/>
              <a:ext cx="4151789" cy="2429242"/>
            </a:xfrm>
            <a:custGeom>
              <a:avLst/>
              <a:gdLst>
                <a:gd name="connsiteX0" fmla="*/ 304804 w 3479071"/>
                <a:gd name="connsiteY0" fmla="*/ 0 h 2057400"/>
                <a:gd name="connsiteX1" fmla="*/ 3174267 w 3479071"/>
                <a:gd name="connsiteY1" fmla="*/ 0 h 2057400"/>
                <a:gd name="connsiteX2" fmla="*/ 3479071 w 3479071"/>
                <a:gd name="connsiteY2" fmla="*/ 304804 h 2057400"/>
                <a:gd name="connsiteX3" fmla="*/ 3479071 w 3479071"/>
                <a:gd name="connsiteY3" fmla="*/ 1752596 h 2057400"/>
                <a:gd name="connsiteX4" fmla="*/ 3174267 w 3479071"/>
                <a:gd name="connsiteY4" fmla="*/ 2057400 h 2057400"/>
                <a:gd name="connsiteX5" fmla="*/ 304804 w 3479071"/>
                <a:gd name="connsiteY5" fmla="*/ 2057400 h 2057400"/>
                <a:gd name="connsiteX6" fmla="*/ 0 w 3479071"/>
                <a:gd name="connsiteY6" fmla="*/ 1752596 h 2057400"/>
                <a:gd name="connsiteX7" fmla="*/ 0 w 3479071"/>
                <a:gd name="connsiteY7" fmla="*/ 304804 h 2057400"/>
                <a:gd name="connsiteX8" fmla="*/ 304804 w 3479071"/>
                <a:gd name="connsiteY8" fmla="*/ 0 h 205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79071" h="2057400">
                  <a:moveTo>
                    <a:pt x="304804" y="0"/>
                  </a:moveTo>
                  <a:lnTo>
                    <a:pt x="3174267" y="0"/>
                  </a:lnTo>
                  <a:cubicBezTo>
                    <a:pt x="3342606" y="0"/>
                    <a:pt x="3479071" y="136465"/>
                    <a:pt x="3479071" y="304804"/>
                  </a:cubicBezTo>
                  <a:lnTo>
                    <a:pt x="3479071" y="1752596"/>
                  </a:lnTo>
                  <a:cubicBezTo>
                    <a:pt x="3479071" y="1920935"/>
                    <a:pt x="3342606" y="2057400"/>
                    <a:pt x="3174267" y="2057400"/>
                  </a:cubicBezTo>
                  <a:lnTo>
                    <a:pt x="304804" y="2057400"/>
                  </a:lnTo>
                  <a:cubicBezTo>
                    <a:pt x="136465" y="2057400"/>
                    <a:pt x="0" y="1920935"/>
                    <a:pt x="0" y="1752596"/>
                  </a:cubicBezTo>
                  <a:lnTo>
                    <a:pt x="0" y="304804"/>
                  </a:lnTo>
                  <a:cubicBezTo>
                    <a:pt x="0" y="136465"/>
                    <a:pt x="136465" y="0"/>
                    <a:pt x="30480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215900" dist="38100" dir="5400000" algn="ctr" rotWithShape="0">
                <a:schemeClr val="bg1">
                  <a:lumMod val="75000"/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CADD7997-31A7-417C-8170-E18F1EC2C605}"/>
                </a:ext>
              </a:extLst>
            </p:cNvPr>
            <p:cNvSpPr/>
            <p:nvPr userDrawn="1"/>
          </p:nvSpPr>
          <p:spPr>
            <a:xfrm>
              <a:off x="5625547" y="1159782"/>
              <a:ext cx="5934873" cy="4021544"/>
            </a:xfrm>
            <a:custGeom>
              <a:avLst/>
              <a:gdLst>
                <a:gd name="connsiteX0" fmla="*/ 332340 w 5934873"/>
                <a:gd name="connsiteY0" fmla="*/ 0 h 4021544"/>
                <a:gd name="connsiteX1" fmla="*/ 5602533 w 5934873"/>
                <a:gd name="connsiteY1" fmla="*/ 0 h 4021544"/>
                <a:gd name="connsiteX2" fmla="*/ 5934873 w 5934873"/>
                <a:gd name="connsiteY2" fmla="*/ 332340 h 4021544"/>
                <a:gd name="connsiteX3" fmla="*/ 5934873 w 5934873"/>
                <a:gd name="connsiteY3" fmla="*/ 3689204 h 4021544"/>
                <a:gd name="connsiteX4" fmla="*/ 5602533 w 5934873"/>
                <a:gd name="connsiteY4" fmla="*/ 4021544 h 4021544"/>
                <a:gd name="connsiteX5" fmla="*/ 2663701 w 5934873"/>
                <a:gd name="connsiteY5" fmla="*/ 4021544 h 4021544"/>
                <a:gd name="connsiteX6" fmla="*/ 2663701 w 5934873"/>
                <a:gd name="connsiteY6" fmla="*/ 2432290 h 4021544"/>
                <a:gd name="connsiteX7" fmla="*/ 2321373 w 5934873"/>
                <a:gd name="connsiteY7" fmla="*/ 2089962 h 4021544"/>
                <a:gd name="connsiteX8" fmla="*/ 0 w 5934873"/>
                <a:gd name="connsiteY8" fmla="*/ 2089962 h 4021544"/>
                <a:gd name="connsiteX9" fmla="*/ 0 w 5934873"/>
                <a:gd name="connsiteY9" fmla="*/ 332340 h 4021544"/>
                <a:gd name="connsiteX10" fmla="*/ 332340 w 5934873"/>
                <a:gd name="connsiteY10" fmla="*/ 0 h 402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934873" h="4021544">
                  <a:moveTo>
                    <a:pt x="332340" y="0"/>
                  </a:moveTo>
                  <a:lnTo>
                    <a:pt x="5602533" y="0"/>
                  </a:lnTo>
                  <a:cubicBezTo>
                    <a:pt x="5786079" y="0"/>
                    <a:pt x="5934873" y="148794"/>
                    <a:pt x="5934873" y="332340"/>
                  </a:cubicBezTo>
                  <a:lnTo>
                    <a:pt x="5934873" y="3689204"/>
                  </a:lnTo>
                  <a:cubicBezTo>
                    <a:pt x="5934873" y="3872750"/>
                    <a:pt x="5786079" y="4021544"/>
                    <a:pt x="5602533" y="4021544"/>
                  </a:cubicBezTo>
                  <a:lnTo>
                    <a:pt x="2663701" y="4021544"/>
                  </a:lnTo>
                  <a:lnTo>
                    <a:pt x="2663701" y="2432290"/>
                  </a:lnTo>
                  <a:cubicBezTo>
                    <a:pt x="2663701" y="2243227"/>
                    <a:pt x="2510436" y="2089962"/>
                    <a:pt x="2321373" y="2089962"/>
                  </a:cubicBezTo>
                  <a:lnTo>
                    <a:pt x="0" y="2089962"/>
                  </a:lnTo>
                  <a:lnTo>
                    <a:pt x="0" y="332340"/>
                  </a:lnTo>
                  <a:cubicBezTo>
                    <a:pt x="0" y="148794"/>
                    <a:pt x="148794" y="0"/>
                    <a:pt x="33234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5BCF2E6D-0C2A-48BB-A4A5-348B734F1FB6}"/>
                </a:ext>
              </a:extLst>
            </p:cNvPr>
            <p:cNvSpPr/>
            <p:nvPr userDrawn="1"/>
          </p:nvSpPr>
          <p:spPr>
            <a:xfrm>
              <a:off x="485661" y="3249744"/>
              <a:ext cx="7803587" cy="2976246"/>
            </a:xfrm>
            <a:prstGeom prst="roundRect">
              <a:avLst>
                <a:gd name="adj" fmla="val 11502"/>
              </a:avLst>
            </a:prstGeom>
            <a:gradFill>
              <a:gsLst>
                <a:gs pos="11000">
                  <a:srgbClr val="31C9A2"/>
                </a:gs>
                <a:gs pos="100000">
                  <a:srgbClr val="2A94DD"/>
                </a:gs>
              </a:gsLst>
              <a:lin ang="8100000" scaled="1"/>
            </a:gradFill>
            <a:ln>
              <a:noFill/>
            </a:ln>
            <a:effectLst>
              <a:outerShdw blurRad="215900" dist="38100" dir="5400000" algn="ctr" rotWithShape="0">
                <a:schemeClr val="bg1">
                  <a:lumMod val="75000"/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215A9EDC-DBB1-4220-AE54-A8AC90F3DA3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856157" y="1350328"/>
            <a:ext cx="5477214" cy="3640453"/>
          </a:xfrm>
          <a:custGeom>
            <a:avLst/>
            <a:gdLst>
              <a:gd name="connsiteX0" fmla="*/ 361097 w 5477214"/>
              <a:gd name="connsiteY0" fmla="*/ 0 h 3640453"/>
              <a:gd name="connsiteX1" fmla="*/ 5116117 w 5477214"/>
              <a:gd name="connsiteY1" fmla="*/ 0 h 3640453"/>
              <a:gd name="connsiteX2" fmla="*/ 5477214 w 5477214"/>
              <a:gd name="connsiteY2" fmla="*/ 361097 h 3640453"/>
              <a:gd name="connsiteX3" fmla="*/ 5477214 w 5477214"/>
              <a:gd name="connsiteY3" fmla="*/ 3279356 h 3640453"/>
              <a:gd name="connsiteX4" fmla="*/ 5116117 w 5477214"/>
              <a:gd name="connsiteY4" fmla="*/ 3640453 h 3640453"/>
              <a:gd name="connsiteX5" fmla="*/ 2492725 w 5477214"/>
              <a:gd name="connsiteY5" fmla="*/ 3640453 h 3640453"/>
              <a:gd name="connsiteX6" fmla="*/ 2492725 w 5477214"/>
              <a:gd name="connsiteY6" fmla="*/ 2162232 h 3640453"/>
              <a:gd name="connsiteX7" fmla="*/ 2150397 w 5477214"/>
              <a:gd name="connsiteY7" fmla="*/ 1819904 h 3640453"/>
              <a:gd name="connsiteX8" fmla="*/ 0 w 5477214"/>
              <a:gd name="connsiteY8" fmla="*/ 1819904 h 3640453"/>
              <a:gd name="connsiteX9" fmla="*/ 0 w 5477214"/>
              <a:gd name="connsiteY9" fmla="*/ 361097 h 3640453"/>
              <a:gd name="connsiteX10" fmla="*/ 361097 w 5477214"/>
              <a:gd name="connsiteY10" fmla="*/ 0 h 3640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77214" h="3640453">
                <a:moveTo>
                  <a:pt x="361097" y="0"/>
                </a:moveTo>
                <a:lnTo>
                  <a:pt x="5116117" y="0"/>
                </a:lnTo>
                <a:cubicBezTo>
                  <a:pt x="5315545" y="0"/>
                  <a:pt x="5477214" y="161669"/>
                  <a:pt x="5477214" y="361097"/>
                </a:cubicBezTo>
                <a:lnTo>
                  <a:pt x="5477214" y="3279356"/>
                </a:lnTo>
                <a:cubicBezTo>
                  <a:pt x="5477214" y="3478784"/>
                  <a:pt x="5315545" y="3640453"/>
                  <a:pt x="5116117" y="3640453"/>
                </a:cubicBezTo>
                <a:lnTo>
                  <a:pt x="2492725" y="3640453"/>
                </a:lnTo>
                <a:lnTo>
                  <a:pt x="2492725" y="2162232"/>
                </a:lnTo>
                <a:cubicBezTo>
                  <a:pt x="2492725" y="1973169"/>
                  <a:pt x="2339460" y="1819904"/>
                  <a:pt x="2150397" y="1819904"/>
                </a:cubicBezTo>
                <a:lnTo>
                  <a:pt x="0" y="1819904"/>
                </a:lnTo>
                <a:lnTo>
                  <a:pt x="0" y="361097"/>
                </a:lnTo>
                <a:cubicBezTo>
                  <a:pt x="0" y="161669"/>
                  <a:pt x="161669" y="0"/>
                  <a:pt x="361097" y="0"/>
                </a:cubicBez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Picture Placeholder 65">
            <a:extLst>
              <a:ext uri="{FF2B5EF4-FFF2-40B4-BE49-F238E27FC236}">
                <a16:creationId xmlns:a16="http://schemas.microsoft.com/office/drawing/2014/main" id="{C4F5A4A2-BA6F-4EFD-A41C-266FCC26F25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99480" y="718947"/>
            <a:ext cx="3865458" cy="2261708"/>
          </a:xfrm>
          <a:prstGeom prst="roundRect">
            <a:avLst>
              <a:gd name="adj" fmla="val 14815"/>
            </a:avLst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9033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985438F-FF4C-465A-AF88-BC90CDD8B4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985438F-FF4C-465A-AF88-BC90CDD8B4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31725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C89349A-746E-4F55-8078-4733F5DCBEDA}"/>
              </a:ext>
            </a:extLst>
          </p:cNvPr>
          <p:cNvSpPr/>
          <p:nvPr userDrawn="1"/>
        </p:nvSpPr>
        <p:spPr>
          <a:xfrm>
            <a:off x="427383" y="327991"/>
            <a:ext cx="3101008" cy="22121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554986"/>
            <a:ext cx="10363200" cy="1328466"/>
          </a:xfrm>
        </p:spPr>
        <p:txBody>
          <a:bodyPr vert="horz" anchor="b"/>
          <a:lstStyle>
            <a:lvl1pPr algn="ctr" rtl="0">
              <a:defRPr sz="6000" b="1" i="0">
                <a:solidFill>
                  <a:srgbClr val="1B8654"/>
                </a:solidFill>
                <a:latin typeface="GE SS Unique"/>
                <a:ea typeface="GE SS Unique"/>
                <a:cs typeface="GE SS Unique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898254"/>
            <a:ext cx="9144000" cy="1655762"/>
          </a:xfrm>
        </p:spPr>
        <p:txBody>
          <a:bodyPr/>
          <a:lstStyle>
            <a:lvl1pPr marL="0" indent="0" algn="ctr" rtl="0">
              <a:buNone/>
              <a:defRPr sz="2400" b="0" i="0">
                <a:solidFill>
                  <a:srgbClr val="9F915C"/>
                </a:solidFill>
                <a:latin typeface="GE SS Unique"/>
                <a:ea typeface="GE SS Unique Light" charset="0"/>
                <a:cs typeface="GE SS Unique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8755"/>
                </a:solidFill>
              </a:rPr>
              <a:t>9/14/2021</a:t>
            </a:r>
            <a:endParaRPr lang="en-US" dirty="0">
              <a:solidFill>
                <a:srgbClr val="008755"/>
              </a:solidFill>
            </a:endParaRPr>
          </a:p>
        </p:txBody>
      </p:sp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42D44990-C9BF-4213-AA80-365F44D4F5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13517" b="11390"/>
          <a:stretch/>
        </p:blipFill>
        <p:spPr>
          <a:xfrm>
            <a:off x="586404" y="238626"/>
            <a:ext cx="2594117" cy="1947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9147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6A0C6-836A-4C1A-B690-72565AB567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D6A0C6-836A-4C1A-B690-72565AB567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931008"/>
            <a:ext cx="10515600" cy="4245955"/>
          </a:xfrm>
        </p:spPr>
        <p:txBody>
          <a:bodyPr>
            <a:normAutofit/>
          </a:bodyPr>
          <a:lstStyle>
            <a:lvl1pPr>
              <a:defRPr sz="1800" b="0" i="0">
                <a:latin typeface="GE SS Unique"/>
                <a:ea typeface="GE SS Unique Light" charset="0"/>
                <a:cs typeface="GE SS Unique Light" charset="0"/>
              </a:defRPr>
            </a:lvl1pPr>
            <a:lvl2pPr>
              <a:defRPr sz="1600" b="0" i="0">
                <a:latin typeface="GE SS Unique"/>
                <a:ea typeface="GE SS Unique Light" charset="0"/>
                <a:cs typeface="GE SS Unique Light" charset="0"/>
              </a:defRPr>
            </a:lvl2pPr>
            <a:lvl3pPr>
              <a:defRPr sz="1400" b="0" i="0">
                <a:latin typeface="GE SS Unique"/>
                <a:ea typeface="GE SS Unique Light" charset="0"/>
                <a:cs typeface="GE SS Unique Light" charset="0"/>
              </a:defRPr>
            </a:lvl3pPr>
            <a:lvl4pPr>
              <a:defRPr sz="1200" b="0" i="0">
                <a:latin typeface="GE SS Unique"/>
                <a:ea typeface="GE SS Unique Light" charset="0"/>
                <a:cs typeface="GE SS Unique Light" charset="0"/>
              </a:defRPr>
            </a:lvl4pPr>
            <a:lvl5pPr>
              <a:defRPr sz="1200" b="0" i="0">
                <a:latin typeface="GE SS Unique"/>
                <a:ea typeface="GE SS Unique Light" charset="0"/>
                <a:cs typeface="GE SS Unique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32501" y="1630017"/>
            <a:ext cx="1847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rtl="1"/>
            <a:endParaRPr lang="en-US" dirty="0">
              <a:solidFill>
                <a:srgbClr val="2A2A2C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5494971" y="1848678"/>
            <a:ext cx="1847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rtl="1"/>
            <a:endParaRPr lang="en-US" dirty="0">
              <a:solidFill>
                <a:srgbClr val="2A2A2C"/>
              </a:solidFill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837117" y="1234897"/>
            <a:ext cx="10517770" cy="560387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F86F9A1-67CD-44DE-B578-D7071FCE8D1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8755"/>
                </a:solidFill>
              </a:rPr>
              <a:t>9/14/2021</a:t>
            </a:r>
            <a:endParaRPr lang="en-US" dirty="0">
              <a:solidFill>
                <a:srgbClr val="008755"/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8E68BE1-FDB2-49CB-AA74-575CF02FEE2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2A2A2C"/>
                </a:solidFill>
              </a:rPr>
              <a:t>© 2021 KPMG Al Fozan &amp; Partners Certified Public Accountants, a registered company in the Kingdom of Saudi Arabia, a member firm of the KPMG global organization of independent member firms affiliated with KPMG International Limited, a private English company limited by guarantee. All rights reserved.  </a:t>
            </a:r>
            <a:endParaRPr lang="en-US" dirty="0">
              <a:solidFill>
                <a:srgbClr val="2A2A2C"/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08C23C1-F8FA-4358-A670-872FBC4CC61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2B5FAF0-EAE8-024B-ACFB-69B605C1F7C8}" type="slidenum">
              <a:rPr lang="en-US" smtClean="0">
                <a:solidFill>
                  <a:srgbClr val="008755"/>
                </a:solidFill>
              </a:rPr>
              <a:pPr/>
              <a:t>‹#›</a:t>
            </a:fld>
            <a:endParaRPr lang="en-US" dirty="0">
              <a:solidFill>
                <a:srgbClr val="008755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CADD7C2-C48A-4A21-B34F-D862B9C95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209887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Picture Placeholder 3">
            <a:extLst>
              <a:ext uri="{FF2B5EF4-FFF2-40B4-BE49-F238E27FC236}">
                <a16:creationId xmlns:a16="http://schemas.microsoft.com/office/drawing/2014/main" id="{8594386E-3B6A-4126-A7E7-05D7226C9E6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380" y="727788"/>
            <a:ext cx="6874240" cy="2831840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5" name="Picture Placeholder 3">
            <a:extLst>
              <a:ext uri="{FF2B5EF4-FFF2-40B4-BE49-F238E27FC236}">
                <a16:creationId xmlns:a16="http://schemas.microsoft.com/office/drawing/2014/main" id="{851C505F-C27B-44ED-950D-268FDD6DB43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846002" y="4068147"/>
            <a:ext cx="930937" cy="955958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0442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4817489-340F-4F4B-8147-D2BC2C9577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4817489-340F-4F4B-8147-D2BC2C9577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849" y="2507630"/>
            <a:ext cx="10515600" cy="1163294"/>
          </a:xfrm>
        </p:spPr>
        <p:txBody>
          <a:bodyPr vert="horz" anchor="ctr" anchorCtr="1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>
                <a:solidFill>
                  <a:schemeClr val="tx1"/>
                </a:solidFill>
                <a:latin typeface="GE SS Unique"/>
                <a:ea typeface="GE SS Unique"/>
                <a:cs typeface="GE SS Unique"/>
              </a:defRPr>
            </a:lvl1pPr>
          </a:lstStyle>
          <a:p>
            <a: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49" y="3839373"/>
            <a:ext cx="10515600" cy="1500187"/>
          </a:xfrm>
        </p:spPr>
        <p:txBody>
          <a:bodyPr/>
          <a:lstStyle>
            <a:lvl1pPr marL="0" indent="0" algn="ctr" rtl="1">
              <a:buNone/>
              <a:defRPr sz="2400" b="0" i="0">
                <a:solidFill>
                  <a:schemeClr val="tx1"/>
                </a:solidFill>
                <a:latin typeface="GE SS Unique"/>
                <a:ea typeface="GE SS Unique Light" charset="0"/>
                <a:cs typeface="GE SS Unique Light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494"/>
          <a:stretch/>
        </p:blipFill>
        <p:spPr>
          <a:xfrm rot="10800000">
            <a:off x="-6351" y="4589464"/>
            <a:ext cx="12192000" cy="2268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5147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72201" y="2426567"/>
            <a:ext cx="5181600" cy="37503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8200" y="2426570"/>
            <a:ext cx="5181600" cy="375039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838200" y="1236950"/>
            <a:ext cx="10515601" cy="560387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8F74D8-57EA-4C69-B359-838AD415B40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8755"/>
                </a:solidFill>
              </a:rPr>
              <a:t>9/14/2021</a:t>
            </a:r>
            <a:endParaRPr lang="en-US" dirty="0">
              <a:solidFill>
                <a:srgbClr val="008755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F37BE92-4D1A-4D79-BBE9-E1F512A3DF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2A2A2C"/>
                </a:solidFill>
              </a:rPr>
              <a:t>© 2021 KPMG Al Fozan &amp; Partners Certified Public Accountants, a registered company in the Kingdom of Saudi Arabia, a member firm of the KPMG global organization of independent member firms affiliated with KPMG International Limited, a private English company limited by guarantee. All rights reserved.  </a:t>
            </a:r>
            <a:endParaRPr lang="en-US" dirty="0">
              <a:solidFill>
                <a:srgbClr val="2A2A2C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1F6A32-A2B4-4256-A0DE-24E39C2EA1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2B5FAF0-EAE8-024B-ACFB-69B605C1F7C8}" type="slidenum">
              <a:rPr lang="en-US" smtClean="0">
                <a:solidFill>
                  <a:srgbClr val="008755"/>
                </a:solidFill>
              </a:rPr>
              <a:pPr/>
              <a:t>‹#›</a:t>
            </a:fld>
            <a:endParaRPr lang="en-US" dirty="0">
              <a:solidFill>
                <a:srgbClr val="0087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1579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38CE261F-35DC-4D96-AAE0-4EEAED47C2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38CE261F-35DC-4D96-AAE0-4EEAED47C2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97601" y="1234440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2196445"/>
            <a:ext cx="5157787" cy="399321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39788" y="1234440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39788" y="2196445"/>
            <a:ext cx="5183188" cy="399321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C0D843B3-33E8-4DD6-94A6-E166A79C85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8755"/>
                </a:solidFill>
              </a:rPr>
              <a:t>9/14/2021</a:t>
            </a:r>
            <a:endParaRPr lang="en-US" dirty="0">
              <a:solidFill>
                <a:srgbClr val="008755"/>
              </a:solidFill>
            </a:endParaRP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E149936-A52B-4BE0-A574-2E7E5E3ED2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2A2A2C"/>
                </a:solidFill>
              </a:rPr>
              <a:t>© 2021 KPMG Al Fozan &amp; Partners Certified Public Accountants, a registered company in the Kingdom of Saudi Arabia, a member firm of the KPMG global organization of independent member firms affiliated with KPMG International Limited, a private English company limited by guarantee. All rights reserved.  </a:t>
            </a:r>
            <a:endParaRPr lang="en-US" dirty="0">
              <a:solidFill>
                <a:srgbClr val="2A2A2C"/>
              </a:solidFill>
            </a:endParaRP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2506FC7-AB31-42F5-95CD-5DFD956FB5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B5FAF0-EAE8-024B-ACFB-69B605C1F7C8}" type="slidenum">
              <a:rPr lang="en-US" smtClean="0">
                <a:solidFill>
                  <a:srgbClr val="008755"/>
                </a:solidFill>
              </a:rPr>
              <a:pPr/>
              <a:t>‹#›</a:t>
            </a:fld>
            <a:endParaRPr lang="en-US" dirty="0">
              <a:solidFill>
                <a:srgbClr val="008755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66A1D7D-0D3A-4CE0-A9C4-BAB1B70C0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26531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62714FB-DD0F-4F4F-9E30-D635F5F367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62714FB-DD0F-4F4F-9E30-D635F5F367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b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48E429-7890-4ADC-856E-FFC0768D2F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8755"/>
                </a:solidFill>
              </a:rPr>
              <a:t>9/14/2021</a:t>
            </a:r>
            <a:endParaRPr lang="en-US" dirty="0">
              <a:solidFill>
                <a:srgbClr val="008755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0977C7-CE04-4FFA-9E04-89C700B4D0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2A2A2C"/>
                </a:solidFill>
              </a:rPr>
              <a:t>© 2021 KPMG Al Fozan &amp; Partners Certified Public Accountants, a registered company in the Kingdom of Saudi Arabia, a member firm of the KPMG global organization of independent member firms affiliated with KPMG International Limited, a private English company limited by guarantee. All rights reserved.  </a:t>
            </a:r>
            <a:endParaRPr lang="en-US" dirty="0">
              <a:solidFill>
                <a:srgbClr val="2A2A2C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F0029C-C0A2-4530-85A1-A5602AAA12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B5FAF0-EAE8-024B-ACFB-69B605C1F7C8}" type="slidenum">
              <a:rPr lang="en-US" smtClean="0">
                <a:solidFill>
                  <a:srgbClr val="008755"/>
                </a:solidFill>
              </a:rPr>
              <a:pPr/>
              <a:t>‹#›</a:t>
            </a:fld>
            <a:endParaRPr lang="en-US" dirty="0">
              <a:solidFill>
                <a:srgbClr val="0087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77435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516"/>
          <a:stretch/>
        </p:blipFill>
        <p:spPr>
          <a:xfrm>
            <a:off x="4558747" y="3"/>
            <a:ext cx="7633252" cy="1380149"/>
          </a:xfrm>
          <a:prstGeom prst="rect">
            <a:avLst/>
          </a:prstGeom>
        </p:spPr>
      </p:pic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79175504-6FC4-454E-A907-62DDA62F42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8755"/>
                </a:solidFill>
              </a:rPr>
              <a:t>9/14/2021</a:t>
            </a:r>
            <a:endParaRPr lang="en-US" dirty="0">
              <a:solidFill>
                <a:srgbClr val="008755"/>
              </a:solidFill>
            </a:endParaRP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61AE0480-9DA5-4CF1-8BCF-A9FBF0DA7D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2A2A2C"/>
                </a:solidFill>
              </a:rPr>
              <a:t>© 2021 KPMG Al Fozan &amp; Partners Certified Public Accountants, a registered company in the Kingdom of Saudi Arabia, a member firm of the KPMG global organization of independent member firms affiliated with KPMG International Limited, a private English company limited by guarantee. All rights reserved.  </a:t>
            </a:r>
            <a:endParaRPr lang="en-US" dirty="0">
              <a:solidFill>
                <a:srgbClr val="2A2A2C"/>
              </a:solidFill>
            </a:endParaRP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4897DDC-3EA8-4AC3-B9D4-605FA256B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B5FAF0-EAE8-024B-ACFB-69B605C1F7C8}" type="slidenum">
              <a:rPr lang="en-US" smtClean="0">
                <a:solidFill>
                  <a:srgbClr val="008755"/>
                </a:solidFill>
              </a:rPr>
              <a:pPr/>
              <a:t>‹#›</a:t>
            </a:fld>
            <a:endParaRPr lang="en-US" dirty="0">
              <a:solidFill>
                <a:srgbClr val="0087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2637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000CCE0-356C-4BFD-B360-A76D4443B8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000CCE0-356C-4BFD-B360-A76D4443B8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1074875"/>
            <a:ext cx="6172200" cy="487362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2EE1063-2BAE-46CF-B8D2-9A7755E091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8755"/>
                </a:solidFill>
              </a:rPr>
              <a:t>9/14/2021</a:t>
            </a:r>
            <a:endParaRPr lang="en-US" dirty="0">
              <a:solidFill>
                <a:srgbClr val="008755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18E49A-156B-4473-91F6-F4E7F23D3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2A2A2C"/>
                </a:solidFill>
              </a:rPr>
              <a:t>© 2021 KPMG Al Fozan &amp; Partners Certified Public Accountants, a registered company in the Kingdom of Saudi Arabia, a member firm of the KPMG global organization of independent member firms affiliated with KPMG International Limited, a private English company limited by guarantee. All rights reserved.  </a:t>
            </a:r>
            <a:endParaRPr lang="en-US" dirty="0">
              <a:solidFill>
                <a:srgbClr val="2A2A2C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14FCAA-E22F-4AC3-98E2-1D98D153A9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B5FAF0-EAE8-024B-ACFB-69B605C1F7C8}" type="slidenum">
              <a:rPr lang="en-US" smtClean="0">
                <a:solidFill>
                  <a:srgbClr val="008755"/>
                </a:solidFill>
              </a:rPr>
              <a:pPr/>
              <a:t>‹#›</a:t>
            </a:fld>
            <a:endParaRPr lang="en-US" dirty="0">
              <a:solidFill>
                <a:srgbClr val="008755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0C03059-6627-44A5-8825-89497F5C43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74875"/>
            <a:ext cx="3932237" cy="1529176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8E26E14-0F1B-4560-B13F-148B8E41730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8200" y="2604054"/>
            <a:ext cx="3932237" cy="3344449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90373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EE20EDC-0E92-43B0-A8EB-090C67C5C9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EE20EDC-0E92-43B0-A8EB-090C67C5C9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074875"/>
            <a:ext cx="3932237" cy="1529176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1602" y="1074878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200" y="2604054"/>
            <a:ext cx="3932237" cy="3344449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CB1D20F5-87E7-45BB-B690-166E416AD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8755"/>
                </a:solidFill>
              </a:rPr>
              <a:t>9/14/2021</a:t>
            </a:r>
            <a:endParaRPr lang="en-US" dirty="0">
              <a:solidFill>
                <a:srgbClr val="008755"/>
              </a:solidFill>
            </a:endParaRP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CF302F3F-120B-4296-A4ED-301C3D46B1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2A2A2C"/>
                </a:solidFill>
              </a:rPr>
              <a:t>© 2021 KPMG Al Fozan &amp; Partners Certified Public Accountants, a registered company in the Kingdom of Saudi Arabia, a member firm of the KPMG global organization of independent member firms affiliated with KPMG International Limited, a private English company limited by guarantee. All rights reserved.  </a:t>
            </a:r>
            <a:endParaRPr lang="en-US" dirty="0">
              <a:solidFill>
                <a:srgbClr val="2A2A2C"/>
              </a:solidFill>
            </a:endParaRP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4B0737E-9AD9-463A-8438-938FD1DF04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B5FAF0-EAE8-024B-ACFB-69B605C1F7C8}" type="slidenum">
              <a:rPr lang="en-US" smtClean="0">
                <a:solidFill>
                  <a:srgbClr val="008755"/>
                </a:solidFill>
              </a:rPr>
              <a:pPr/>
              <a:t>‹#›</a:t>
            </a:fld>
            <a:endParaRPr lang="en-US" dirty="0">
              <a:solidFill>
                <a:srgbClr val="0087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369231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C0CB1AA-1111-4827-98E8-CCCD13034A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C0CB1AA-1111-4827-98E8-CCCD13034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70B6B68-C168-4E82-99D8-502BB6B192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8755"/>
                </a:solidFill>
              </a:rPr>
              <a:t>9/14/2021</a:t>
            </a:r>
            <a:endParaRPr lang="en-US" dirty="0">
              <a:solidFill>
                <a:srgbClr val="00875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C31D32E-D90A-4BE2-8C02-E0B1F46E0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2A2A2C"/>
                </a:solidFill>
              </a:rPr>
              <a:t>© 2021 KPMG Al Fozan &amp; Partners Certified Public Accountants, a registered company in the Kingdom of Saudi Arabia, a member firm of the KPMG global organization of independent member firms affiliated with KPMG International Limited, a private English company limited by guarantee. All rights reserved.  </a:t>
            </a:r>
            <a:endParaRPr lang="en-US" dirty="0">
              <a:solidFill>
                <a:srgbClr val="2A2A2C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798091-33BB-4D9F-98D7-7A67DA7090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B5FAF0-EAE8-024B-ACFB-69B605C1F7C8}" type="slidenum">
              <a:rPr lang="en-US" smtClean="0">
                <a:solidFill>
                  <a:srgbClr val="008755"/>
                </a:solidFill>
              </a:rPr>
              <a:pPr/>
              <a:t>‹#›</a:t>
            </a:fld>
            <a:endParaRPr lang="en-US" dirty="0">
              <a:solidFill>
                <a:srgbClr val="0087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39754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30F1C9F-3B0F-704D-BB0B-0F61B4DA971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3238500"/>
            <a:ext cx="6007100" cy="36195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D78183D-F4E4-F64A-A039-C983F502FE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168" t="19941" r="94" b="17798"/>
          <a:stretch/>
        </p:blipFill>
        <p:spPr>
          <a:xfrm>
            <a:off x="1222734" y="2875965"/>
            <a:ext cx="2046213" cy="184291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1EF61B6-F929-0048-8450-8258C6E3F7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7"/>
          <a:stretch/>
        </p:blipFill>
        <p:spPr>
          <a:xfrm>
            <a:off x="0" y="-5947"/>
            <a:ext cx="12192000" cy="3752033"/>
          </a:xfrm>
          <a:prstGeom prst="rect">
            <a:avLst/>
          </a:prstGeom>
        </p:spPr>
      </p:pic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A87AC21A-AA41-394A-8F77-0D45DBAC64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61562" y="6538495"/>
            <a:ext cx="3311525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3C010D1D-CF0F-DD4B-A383-D005BC0778CE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4649422" y="6133867"/>
            <a:ext cx="3967917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7F49A0C-45E6-B346-9BAA-19764B3E4C17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4649422" y="5918509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19D9977-9665-A148-A1EB-0CA0A25693B6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563889" y="4903653"/>
            <a:ext cx="5863322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solidFill>
                  <a:srgbClr val="04896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</p:spTree>
    <p:extLst>
      <p:ext uri="{BB962C8B-B14F-4D97-AF65-F5344CB8AC3E}">
        <p14:creationId xmlns:p14="http://schemas.microsoft.com/office/powerpoint/2010/main" val="25815897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E9335AC8-34F2-429E-AD26-9E23348554CC}"/>
              </a:ext>
            </a:extLst>
          </p:cNvPr>
          <p:cNvGrpSpPr/>
          <p:nvPr userDrawn="1"/>
        </p:nvGrpSpPr>
        <p:grpSpPr>
          <a:xfrm>
            <a:off x="1181946" y="843713"/>
            <a:ext cx="6421525" cy="5146558"/>
            <a:chOff x="1181946" y="843713"/>
            <a:chExt cx="6421525" cy="5146558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87B9FA51-C88F-4C9A-9168-29EA9B508202}"/>
                </a:ext>
              </a:extLst>
            </p:cNvPr>
            <p:cNvSpPr/>
            <p:nvPr userDrawn="1"/>
          </p:nvSpPr>
          <p:spPr>
            <a:xfrm>
              <a:off x="1635071" y="2757053"/>
              <a:ext cx="2684575" cy="2673341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D4431040-A5EA-41DF-8E63-A50F1DA46A55}"/>
                </a:ext>
              </a:extLst>
            </p:cNvPr>
            <p:cNvSpPr/>
            <p:nvPr userDrawn="1"/>
          </p:nvSpPr>
          <p:spPr>
            <a:xfrm>
              <a:off x="1816045" y="2937269"/>
              <a:ext cx="2322627" cy="2312908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A4D446C6-4F21-4A7E-ADE1-DF3C7517C519}"/>
                </a:ext>
              </a:extLst>
            </p:cNvPr>
            <p:cNvSpPr/>
            <p:nvPr/>
          </p:nvSpPr>
          <p:spPr>
            <a:xfrm>
              <a:off x="2008772" y="3129190"/>
              <a:ext cx="1937172" cy="1929066"/>
            </a:xfrm>
            <a:prstGeom prst="ellipse">
              <a:avLst/>
            </a:prstGeom>
            <a:gradFill>
              <a:gsLst>
                <a:gs pos="21000">
                  <a:srgbClr val="31C9A2"/>
                </a:gs>
                <a:gs pos="100000">
                  <a:srgbClr val="2A94DD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118E6C3-E6BC-4FB2-B49F-B25D904F8CD3}"/>
                </a:ext>
              </a:extLst>
            </p:cNvPr>
            <p:cNvSpPr/>
            <p:nvPr userDrawn="1"/>
          </p:nvSpPr>
          <p:spPr>
            <a:xfrm>
              <a:off x="5638490" y="3455422"/>
              <a:ext cx="1922517" cy="2534849"/>
            </a:xfrm>
            <a:custGeom>
              <a:avLst/>
              <a:gdLst>
                <a:gd name="connsiteX0" fmla="*/ 217944 w 1794372"/>
                <a:gd name="connsiteY0" fmla="*/ 0 h 2365889"/>
                <a:gd name="connsiteX1" fmla="*/ 1576427 w 1794372"/>
                <a:gd name="connsiteY1" fmla="*/ 0 h 2365889"/>
                <a:gd name="connsiteX2" fmla="*/ 1794372 w 1794372"/>
                <a:gd name="connsiteY2" fmla="*/ 217945 h 2365889"/>
                <a:gd name="connsiteX3" fmla="*/ 1794372 w 1794372"/>
                <a:gd name="connsiteY3" fmla="*/ 2147944 h 2365889"/>
                <a:gd name="connsiteX4" fmla="*/ 1576427 w 1794372"/>
                <a:gd name="connsiteY4" fmla="*/ 2365889 h 2365889"/>
                <a:gd name="connsiteX5" fmla="*/ 217944 w 1794372"/>
                <a:gd name="connsiteY5" fmla="*/ 2365889 h 2365889"/>
                <a:gd name="connsiteX6" fmla="*/ 0 w 1794372"/>
                <a:gd name="connsiteY6" fmla="*/ 2147944 h 2365889"/>
                <a:gd name="connsiteX7" fmla="*/ 0 w 1794372"/>
                <a:gd name="connsiteY7" fmla="*/ 217945 h 2365889"/>
                <a:gd name="connsiteX8" fmla="*/ 217944 w 1794372"/>
                <a:gd name="connsiteY8" fmla="*/ 0 h 2365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94372" h="2365889">
                  <a:moveTo>
                    <a:pt x="217944" y="0"/>
                  </a:moveTo>
                  <a:lnTo>
                    <a:pt x="1576427" y="0"/>
                  </a:lnTo>
                  <a:cubicBezTo>
                    <a:pt x="1696795" y="0"/>
                    <a:pt x="1794372" y="97577"/>
                    <a:pt x="1794372" y="217945"/>
                  </a:cubicBezTo>
                  <a:lnTo>
                    <a:pt x="1794372" y="2147944"/>
                  </a:lnTo>
                  <a:cubicBezTo>
                    <a:pt x="1794372" y="2268312"/>
                    <a:pt x="1696795" y="2365889"/>
                    <a:pt x="1576427" y="2365889"/>
                  </a:cubicBezTo>
                  <a:lnTo>
                    <a:pt x="217944" y="2365889"/>
                  </a:lnTo>
                  <a:cubicBezTo>
                    <a:pt x="97576" y="2365889"/>
                    <a:pt x="0" y="2268312"/>
                    <a:pt x="0" y="2147944"/>
                  </a:cubicBezTo>
                  <a:lnTo>
                    <a:pt x="0" y="217945"/>
                  </a:lnTo>
                  <a:cubicBezTo>
                    <a:pt x="0" y="97577"/>
                    <a:pt x="97576" y="0"/>
                    <a:pt x="21794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127000" dist="38100" dir="5400000" algn="t" rotWithShape="0">
                <a:schemeClr val="bg1">
                  <a:lumMod val="75000"/>
                  <a:alpha val="2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456EFF9A-A7D4-4F98-937A-311AD8BA4969}"/>
                </a:ext>
              </a:extLst>
            </p:cNvPr>
            <p:cNvSpPr/>
            <p:nvPr userDrawn="1"/>
          </p:nvSpPr>
          <p:spPr>
            <a:xfrm>
              <a:off x="3340104" y="3455422"/>
              <a:ext cx="1922518" cy="2534849"/>
            </a:xfrm>
            <a:custGeom>
              <a:avLst/>
              <a:gdLst>
                <a:gd name="connsiteX0" fmla="*/ 217945 w 1794373"/>
                <a:gd name="connsiteY0" fmla="*/ 0 h 2365889"/>
                <a:gd name="connsiteX1" fmla="*/ 1576429 w 1794373"/>
                <a:gd name="connsiteY1" fmla="*/ 0 h 2365889"/>
                <a:gd name="connsiteX2" fmla="*/ 1794373 w 1794373"/>
                <a:gd name="connsiteY2" fmla="*/ 217945 h 2365889"/>
                <a:gd name="connsiteX3" fmla="*/ 1794373 w 1794373"/>
                <a:gd name="connsiteY3" fmla="*/ 2147944 h 2365889"/>
                <a:gd name="connsiteX4" fmla="*/ 1576429 w 1794373"/>
                <a:gd name="connsiteY4" fmla="*/ 2365889 h 2365889"/>
                <a:gd name="connsiteX5" fmla="*/ 217945 w 1794373"/>
                <a:gd name="connsiteY5" fmla="*/ 2365889 h 2365889"/>
                <a:gd name="connsiteX6" fmla="*/ 0 w 1794373"/>
                <a:gd name="connsiteY6" fmla="*/ 2147944 h 2365889"/>
                <a:gd name="connsiteX7" fmla="*/ 0 w 1794373"/>
                <a:gd name="connsiteY7" fmla="*/ 217945 h 2365889"/>
                <a:gd name="connsiteX8" fmla="*/ 217945 w 1794373"/>
                <a:gd name="connsiteY8" fmla="*/ 0 h 2365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94373" h="2365889">
                  <a:moveTo>
                    <a:pt x="217945" y="0"/>
                  </a:moveTo>
                  <a:lnTo>
                    <a:pt x="1576429" y="0"/>
                  </a:lnTo>
                  <a:cubicBezTo>
                    <a:pt x="1696796" y="0"/>
                    <a:pt x="1794373" y="97577"/>
                    <a:pt x="1794373" y="217945"/>
                  </a:cubicBezTo>
                  <a:lnTo>
                    <a:pt x="1794373" y="2147944"/>
                  </a:lnTo>
                  <a:cubicBezTo>
                    <a:pt x="1794373" y="2268312"/>
                    <a:pt x="1696796" y="2365889"/>
                    <a:pt x="1576429" y="2365889"/>
                  </a:cubicBezTo>
                  <a:lnTo>
                    <a:pt x="217945" y="2365889"/>
                  </a:lnTo>
                  <a:cubicBezTo>
                    <a:pt x="97577" y="2365889"/>
                    <a:pt x="0" y="2268312"/>
                    <a:pt x="0" y="2147944"/>
                  </a:cubicBezTo>
                  <a:lnTo>
                    <a:pt x="0" y="217945"/>
                  </a:lnTo>
                  <a:cubicBezTo>
                    <a:pt x="0" y="97577"/>
                    <a:pt x="97577" y="0"/>
                    <a:pt x="21794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127000" dist="38100" dir="5400000" algn="t" rotWithShape="0">
                <a:schemeClr val="bg1">
                  <a:lumMod val="75000"/>
                  <a:alpha val="2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7817152-6206-4718-AD82-24FF26FFD4C5}"/>
                </a:ext>
              </a:extLst>
            </p:cNvPr>
            <p:cNvSpPr/>
            <p:nvPr userDrawn="1"/>
          </p:nvSpPr>
          <p:spPr>
            <a:xfrm>
              <a:off x="3242133" y="843713"/>
              <a:ext cx="4361338" cy="2192282"/>
            </a:xfrm>
            <a:custGeom>
              <a:avLst/>
              <a:gdLst>
                <a:gd name="connsiteX0" fmla="*/ 248526 w 4070635"/>
                <a:gd name="connsiteY0" fmla="*/ 0 h 2046156"/>
                <a:gd name="connsiteX1" fmla="*/ 3822109 w 4070635"/>
                <a:gd name="connsiteY1" fmla="*/ 0 h 2046156"/>
                <a:gd name="connsiteX2" fmla="*/ 4070635 w 4070635"/>
                <a:gd name="connsiteY2" fmla="*/ 248526 h 2046156"/>
                <a:gd name="connsiteX3" fmla="*/ 4070635 w 4070635"/>
                <a:gd name="connsiteY3" fmla="*/ 1797630 h 2046156"/>
                <a:gd name="connsiteX4" fmla="*/ 3822109 w 4070635"/>
                <a:gd name="connsiteY4" fmla="*/ 2046156 h 2046156"/>
                <a:gd name="connsiteX5" fmla="*/ 248526 w 4070635"/>
                <a:gd name="connsiteY5" fmla="*/ 2046156 h 2046156"/>
                <a:gd name="connsiteX6" fmla="*/ 0 w 4070635"/>
                <a:gd name="connsiteY6" fmla="*/ 1797630 h 2046156"/>
                <a:gd name="connsiteX7" fmla="*/ 0 w 4070635"/>
                <a:gd name="connsiteY7" fmla="*/ 248526 h 2046156"/>
                <a:gd name="connsiteX8" fmla="*/ 248526 w 4070635"/>
                <a:gd name="connsiteY8" fmla="*/ 0 h 204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70635" h="2046156">
                  <a:moveTo>
                    <a:pt x="248526" y="0"/>
                  </a:moveTo>
                  <a:lnTo>
                    <a:pt x="3822109" y="0"/>
                  </a:lnTo>
                  <a:cubicBezTo>
                    <a:pt x="3959366" y="0"/>
                    <a:pt x="4070635" y="111269"/>
                    <a:pt x="4070635" y="248526"/>
                  </a:cubicBezTo>
                  <a:lnTo>
                    <a:pt x="4070635" y="1797630"/>
                  </a:lnTo>
                  <a:cubicBezTo>
                    <a:pt x="4070635" y="1934887"/>
                    <a:pt x="3959366" y="2046156"/>
                    <a:pt x="3822109" y="2046156"/>
                  </a:cubicBezTo>
                  <a:lnTo>
                    <a:pt x="248526" y="2046156"/>
                  </a:lnTo>
                  <a:cubicBezTo>
                    <a:pt x="111269" y="2046156"/>
                    <a:pt x="0" y="1934887"/>
                    <a:pt x="0" y="1797630"/>
                  </a:cubicBezTo>
                  <a:lnTo>
                    <a:pt x="0" y="248526"/>
                  </a:lnTo>
                  <a:cubicBezTo>
                    <a:pt x="0" y="111269"/>
                    <a:pt x="111269" y="0"/>
                    <a:pt x="24852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127000" dist="38100" dir="5400000" algn="t" rotWithShape="0">
                <a:schemeClr val="bg1">
                  <a:lumMod val="75000"/>
                  <a:alpha val="2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5AE763D-1297-47E6-B54D-64841779B493}"/>
                </a:ext>
              </a:extLst>
            </p:cNvPr>
            <p:cNvSpPr/>
            <p:nvPr userDrawn="1"/>
          </p:nvSpPr>
          <p:spPr>
            <a:xfrm>
              <a:off x="1181946" y="1779205"/>
              <a:ext cx="1848177" cy="2607575"/>
            </a:xfrm>
            <a:custGeom>
              <a:avLst/>
              <a:gdLst>
                <a:gd name="connsiteX0" fmla="*/ 209517 w 1724987"/>
                <a:gd name="connsiteY0" fmla="*/ 0 h 2433768"/>
                <a:gd name="connsiteX1" fmla="*/ 1515470 w 1724987"/>
                <a:gd name="connsiteY1" fmla="*/ 0 h 2433768"/>
                <a:gd name="connsiteX2" fmla="*/ 1724987 w 1724987"/>
                <a:gd name="connsiteY2" fmla="*/ 209517 h 2433768"/>
                <a:gd name="connsiteX3" fmla="*/ 1724987 w 1724987"/>
                <a:gd name="connsiteY3" fmla="*/ 2224251 h 2433768"/>
                <a:gd name="connsiteX4" fmla="*/ 1515470 w 1724987"/>
                <a:gd name="connsiteY4" fmla="*/ 2433768 h 2433768"/>
                <a:gd name="connsiteX5" fmla="*/ 209517 w 1724987"/>
                <a:gd name="connsiteY5" fmla="*/ 2433768 h 2433768"/>
                <a:gd name="connsiteX6" fmla="*/ 0 w 1724987"/>
                <a:gd name="connsiteY6" fmla="*/ 2224251 h 2433768"/>
                <a:gd name="connsiteX7" fmla="*/ 0 w 1724987"/>
                <a:gd name="connsiteY7" fmla="*/ 209517 h 2433768"/>
                <a:gd name="connsiteX8" fmla="*/ 209517 w 1724987"/>
                <a:gd name="connsiteY8" fmla="*/ 0 h 2433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24987" h="2433768">
                  <a:moveTo>
                    <a:pt x="209517" y="0"/>
                  </a:moveTo>
                  <a:lnTo>
                    <a:pt x="1515470" y="0"/>
                  </a:lnTo>
                  <a:cubicBezTo>
                    <a:pt x="1631183" y="0"/>
                    <a:pt x="1724987" y="93804"/>
                    <a:pt x="1724987" y="209517"/>
                  </a:cubicBezTo>
                  <a:lnTo>
                    <a:pt x="1724987" y="2224251"/>
                  </a:lnTo>
                  <a:cubicBezTo>
                    <a:pt x="1724987" y="2339964"/>
                    <a:pt x="1631183" y="2433768"/>
                    <a:pt x="1515470" y="2433768"/>
                  </a:cubicBezTo>
                  <a:lnTo>
                    <a:pt x="209517" y="2433768"/>
                  </a:lnTo>
                  <a:cubicBezTo>
                    <a:pt x="93804" y="2433768"/>
                    <a:pt x="0" y="2339964"/>
                    <a:pt x="0" y="2224251"/>
                  </a:cubicBezTo>
                  <a:lnTo>
                    <a:pt x="0" y="209517"/>
                  </a:lnTo>
                  <a:cubicBezTo>
                    <a:pt x="0" y="93804"/>
                    <a:pt x="93804" y="0"/>
                    <a:pt x="20951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127000" dist="38100" dir="5400000" algn="t" rotWithShape="0">
                <a:schemeClr val="bg1">
                  <a:lumMod val="75000"/>
                  <a:alpha val="2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D490F91-8DD6-41AA-B2BB-5B4104F574D3}"/>
              </a:ext>
            </a:extLst>
          </p:cNvPr>
          <p:cNvSpPr>
            <a:spLocks noGrp="1"/>
          </p:cNvSpPr>
          <p:nvPr userDrawn="1">
            <p:ph type="pic" sz="quarter" idx="10"/>
          </p:nvPr>
        </p:nvSpPr>
        <p:spPr>
          <a:xfrm>
            <a:off x="1281411" y="1919539"/>
            <a:ext cx="1649246" cy="2326906"/>
          </a:xfrm>
          <a:prstGeom prst="roundRect">
            <a:avLst>
              <a:gd name="adj" fmla="val 12146"/>
            </a:avLst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4B86B99C-9F20-426A-93BE-6B07FB7F7B2B}"/>
              </a:ext>
            </a:extLst>
          </p:cNvPr>
          <p:cNvSpPr>
            <a:spLocks noGrp="1"/>
          </p:cNvSpPr>
          <p:nvPr userDrawn="1">
            <p:ph type="pic" sz="quarter" idx="11"/>
          </p:nvPr>
        </p:nvSpPr>
        <p:spPr>
          <a:xfrm>
            <a:off x="5741956" y="3591843"/>
            <a:ext cx="1715585" cy="2262007"/>
          </a:xfrm>
          <a:prstGeom prst="roundRect">
            <a:avLst>
              <a:gd name="adj" fmla="val 12146"/>
            </a:avLst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5794FD1B-7F6B-4D38-A71B-10820B4BF648}"/>
              </a:ext>
            </a:extLst>
          </p:cNvPr>
          <p:cNvSpPr>
            <a:spLocks noGrp="1"/>
          </p:cNvSpPr>
          <p:nvPr userDrawn="1">
            <p:ph type="pic" sz="quarter" idx="12"/>
          </p:nvPr>
        </p:nvSpPr>
        <p:spPr>
          <a:xfrm>
            <a:off x="3443571" y="3591843"/>
            <a:ext cx="1715585" cy="2262007"/>
          </a:xfrm>
          <a:prstGeom prst="roundRect">
            <a:avLst>
              <a:gd name="adj" fmla="val 12146"/>
            </a:avLst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6E4F1BCB-1ECA-468D-BD8E-171B94577745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3408478" y="961698"/>
            <a:ext cx="4028648" cy="1956313"/>
          </a:xfrm>
          <a:prstGeom prst="roundRect">
            <a:avLst>
              <a:gd name="adj" fmla="val 12146"/>
            </a:avLst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3720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BBE9010F-8AC1-4EB6-99AD-6D56C56B3EA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64117" y="1335182"/>
            <a:ext cx="1106489" cy="1166457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173B400D-885F-4CC4-AA62-ADCA2FA8919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84270" y="-23529"/>
            <a:ext cx="3055365" cy="6881529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6BC730DA-4E87-439F-9626-CEB9301890C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64117" y="3813243"/>
            <a:ext cx="1106489" cy="1166457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982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B4FC6F71-573F-4A9E-93BD-CEE835857E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67110" y="1706860"/>
            <a:ext cx="3895029" cy="3925541"/>
          </a:xfrm>
          <a:custGeom>
            <a:avLst/>
            <a:gdLst>
              <a:gd name="connsiteX0" fmla="*/ 3347369 w 3895029"/>
              <a:gd name="connsiteY0" fmla="*/ 0 h 3925541"/>
              <a:gd name="connsiteX1" fmla="*/ 3421939 w 3895029"/>
              <a:gd name="connsiteY1" fmla="*/ 0 h 3925541"/>
              <a:gd name="connsiteX2" fmla="*/ 3895029 w 3895029"/>
              <a:gd name="connsiteY2" fmla="*/ 473090 h 3925541"/>
              <a:gd name="connsiteX3" fmla="*/ 3895029 w 3895029"/>
              <a:gd name="connsiteY3" fmla="*/ 3452451 h 3925541"/>
              <a:gd name="connsiteX4" fmla="*/ 3421939 w 3895029"/>
              <a:gd name="connsiteY4" fmla="*/ 3925541 h 3925541"/>
              <a:gd name="connsiteX5" fmla="*/ 473090 w 3895029"/>
              <a:gd name="connsiteY5" fmla="*/ 3925541 h 3925541"/>
              <a:gd name="connsiteX6" fmla="*/ 0 w 3895029"/>
              <a:gd name="connsiteY6" fmla="*/ 3452451 h 3925541"/>
              <a:gd name="connsiteX7" fmla="*/ 0 w 3895029"/>
              <a:gd name="connsiteY7" fmla="*/ 1386864 h 3925541"/>
              <a:gd name="connsiteX8" fmla="*/ 2822408 w 3895029"/>
              <a:gd name="connsiteY8" fmla="*/ 1386864 h 3925541"/>
              <a:gd name="connsiteX9" fmla="*/ 3347369 w 3895029"/>
              <a:gd name="connsiteY9" fmla="*/ 861903 h 3925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895029" h="3925541">
                <a:moveTo>
                  <a:pt x="3347369" y="0"/>
                </a:moveTo>
                <a:lnTo>
                  <a:pt x="3421939" y="0"/>
                </a:lnTo>
                <a:cubicBezTo>
                  <a:pt x="3683219" y="0"/>
                  <a:pt x="3895029" y="211810"/>
                  <a:pt x="3895029" y="473090"/>
                </a:cubicBezTo>
                <a:lnTo>
                  <a:pt x="3895029" y="3452451"/>
                </a:lnTo>
                <a:cubicBezTo>
                  <a:pt x="3895029" y="3713731"/>
                  <a:pt x="3683219" y="3925541"/>
                  <a:pt x="3421939" y="3925541"/>
                </a:cubicBezTo>
                <a:lnTo>
                  <a:pt x="473090" y="3925541"/>
                </a:lnTo>
                <a:cubicBezTo>
                  <a:pt x="211810" y="3925541"/>
                  <a:pt x="0" y="3713731"/>
                  <a:pt x="0" y="3452451"/>
                </a:cubicBezTo>
                <a:lnTo>
                  <a:pt x="0" y="1386864"/>
                </a:lnTo>
                <a:lnTo>
                  <a:pt x="2822408" y="1386864"/>
                </a:lnTo>
                <a:cubicBezTo>
                  <a:pt x="3112336" y="1386864"/>
                  <a:pt x="3347369" y="1151831"/>
                  <a:pt x="3347369" y="861903"/>
                </a:cubicBez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FCB50A0C-CB5F-43C6-8ADE-5BC200D51D8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4274277" cy="2792894"/>
          </a:xfrm>
          <a:custGeom>
            <a:avLst/>
            <a:gdLst>
              <a:gd name="connsiteX0" fmla="*/ 0 w 4274277"/>
              <a:gd name="connsiteY0" fmla="*/ 0 h 2552264"/>
              <a:gd name="connsiteX1" fmla="*/ 4274277 w 4274277"/>
              <a:gd name="connsiteY1" fmla="*/ 0 h 2552264"/>
              <a:gd name="connsiteX2" fmla="*/ 4274277 w 4274277"/>
              <a:gd name="connsiteY2" fmla="*/ 2075468 h 2552264"/>
              <a:gd name="connsiteX3" fmla="*/ 3797481 w 4274277"/>
              <a:gd name="connsiteY3" fmla="*/ 2552264 h 2552264"/>
              <a:gd name="connsiteX4" fmla="*/ 0 w 4274277"/>
              <a:gd name="connsiteY4" fmla="*/ 2552264 h 2552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4277" h="2552264">
                <a:moveTo>
                  <a:pt x="0" y="0"/>
                </a:moveTo>
                <a:lnTo>
                  <a:pt x="4274277" y="0"/>
                </a:lnTo>
                <a:lnTo>
                  <a:pt x="4274277" y="2075468"/>
                </a:lnTo>
                <a:cubicBezTo>
                  <a:pt x="4274277" y="2338795"/>
                  <a:pt x="4060808" y="2552264"/>
                  <a:pt x="3797481" y="2552264"/>
                </a:cubicBezTo>
                <a:lnTo>
                  <a:pt x="0" y="2552264"/>
                </a:ln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151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F9A85133-0FBF-44AF-91FC-1A824EC95F7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81636" y="1185529"/>
            <a:ext cx="2765857" cy="4012113"/>
          </a:xfrm>
          <a:prstGeom prst="roundRect">
            <a:avLst>
              <a:gd name="adj" fmla="val 12146"/>
            </a:avLst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C1F51008-4ADC-44A7-8685-6B37847C8E0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928364" y="1663574"/>
            <a:ext cx="2765857" cy="4012113"/>
          </a:xfrm>
          <a:prstGeom prst="roundRect">
            <a:avLst>
              <a:gd name="adj" fmla="val 12146"/>
            </a:avLst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28408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5AB3B290-162D-4C2F-89AA-090BED65F0B0}"/>
              </a:ext>
            </a:extLst>
          </p:cNvPr>
          <p:cNvGrpSpPr/>
          <p:nvPr userDrawn="1"/>
        </p:nvGrpSpPr>
        <p:grpSpPr>
          <a:xfrm>
            <a:off x="1148916" y="1"/>
            <a:ext cx="3734353" cy="6858000"/>
            <a:chOff x="1148916" y="1"/>
            <a:chExt cx="3734353" cy="68580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93A61495-90EB-4F73-AE7D-DE24CD1460F5}"/>
                </a:ext>
              </a:extLst>
            </p:cNvPr>
            <p:cNvSpPr/>
            <p:nvPr userDrawn="1"/>
          </p:nvSpPr>
          <p:spPr>
            <a:xfrm>
              <a:off x="1154048" y="1"/>
              <a:ext cx="3724088" cy="6858000"/>
            </a:xfrm>
            <a:prstGeom prst="rect">
              <a:avLst/>
            </a:prstGeom>
            <a:gradFill>
              <a:gsLst>
                <a:gs pos="11000">
                  <a:srgbClr val="31C9A2"/>
                </a:gs>
                <a:gs pos="100000">
                  <a:srgbClr val="2A94DD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4C9A0B75-3551-4FC4-8F04-F376A39D094D}"/>
                </a:ext>
              </a:extLst>
            </p:cNvPr>
            <p:cNvSpPr/>
            <p:nvPr userDrawn="1"/>
          </p:nvSpPr>
          <p:spPr>
            <a:xfrm>
              <a:off x="1148916" y="2302726"/>
              <a:ext cx="3734353" cy="23073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5400" dist="38100" dir="5400000" algn="t" rotWithShape="0">
                <a:schemeClr val="bg1">
                  <a:lumMod val="75000"/>
                  <a:alpha val="3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3" name="Picture Placeholder 3">
            <a:extLst>
              <a:ext uri="{FF2B5EF4-FFF2-40B4-BE49-F238E27FC236}">
                <a16:creationId xmlns:a16="http://schemas.microsoft.com/office/drawing/2014/main" id="{9EB3610E-D8AD-4FBD-A1DD-6E7E93461C0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527670" y="2724558"/>
            <a:ext cx="673243" cy="652302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8" name="Picture Placeholder 3">
            <a:extLst>
              <a:ext uri="{FF2B5EF4-FFF2-40B4-BE49-F238E27FC236}">
                <a16:creationId xmlns:a16="http://schemas.microsoft.com/office/drawing/2014/main" id="{08A5F2E1-5913-4BCA-912F-2791D72B7C0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519824" y="416996"/>
            <a:ext cx="673243" cy="652302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1ED70C1E-77EA-4387-83EF-AA2C4AEAE5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527670" y="4986862"/>
            <a:ext cx="673243" cy="652302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9706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Picture Placeholder 3">
            <a:extLst>
              <a:ext uri="{FF2B5EF4-FFF2-40B4-BE49-F238E27FC236}">
                <a16:creationId xmlns:a16="http://schemas.microsoft.com/office/drawing/2014/main" id="{B140C7A0-6950-45CC-901F-C9FB0DFF108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94648" y="1171142"/>
            <a:ext cx="4219657" cy="4515717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57524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38000">
              <a:schemeClr val="bg1">
                <a:lumMod val="95000"/>
              </a:schemeClr>
            </a:gs>
            <a:gs pos="100000">
              <a:schemeClr val="bg1">
                <a:lumMod val="95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9D9C2C-A14F-4C47-A513-E94E5B6FB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EC7A0A-04CC-4A56-872C-E35BC39138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5992E0-C3A2-4F78-B1ED-41D460F011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C62E4B3-391B-49C0-A673-98A96C983FB5}" type="datetimeFigureOut">
              <a:rPr lang="en-US" smtClean="0"/>
              <a:pPr/>
              <a:t>3/5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E00A14-8F1E-4B19-A0DA-478EC40B8D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0BC492-D27B-4468-B9A6-481D4052EA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AA98139-DA01-49B0-927E-FE0B7A59B9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10BE49C-A9FF-4D75-B358-B3DB2F3CE57D}"/>
              </a:ext>
            </a:extLst>
          </p:cNvPr>
          <p:cNvSpPr/>
          <p:nvPr userDrawn="1"/>
        </p:nvSpPr>
        <p:spPr>
          <a:xfrm>
            <a:off x="11551458" y="7844"/>
            <a:ext cx="640542" cy="684231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52400" dist="38100" dir="10800000" algn="r" rotWithShape="0">
              <a:schemeClr val="bg1">
                <a:lumMod val="85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5507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E9FDA5C-FE29-41D1-B6D7-2AD90C9A59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E9FDA5C-FE29-41D1-B6D7-2AD90C9A5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550859"/>
            <a:ext cx="10515600" cy="63610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380152"/>
            <a:ext cx="10515600" cy="47968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70152"/>
            <a:ext cx="886943" cy="30687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100">
                <a:solidFill>
                  <a:schemeClr val="accent1"/>
                </a:solidFill>
                <a:latin typeface="GE SS Unique"/>
              </a:defRPr>
            </a:lvl1pPr>
          </a:lstStyle>
          <a:p>
            <a:r>
              <a:rPr lang="en-US">
                <a:solidFill>
                  <a:srgbClr val="008755"/>
                </a:solidFill>
              </a:rPr>
              <a:t>9/14/2021</a:t>
            </a:r>
            <a:endParaRPr lang="en-US" dirty="0">
              <a:solidFill>
                <a:srgbClr val="00875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31504" y="6370152"/>
            <a:ext cx="422295" cy="30687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100">
                <a:solidFill>
                  <a:schemeClr val="accent1"/>
                </a:solidFill>
                <a:latin typeface="GE SS Unique"/>
              </a:defRPr>
            </a:lvl1pPr>
          </a:lstStyle>
          <a:p>
            <a:fld id="{72B5FAF0-EAE8-024B-ACFB-69B605C1F7C8}" type="slidenum">
              <a:rPr lang="en-US" smtClean="0">
                <a:solidFill>
                  <a:srgbClr val="008755"/>
                </a:solidFill>
              </a:rPr>
              <a:pPr/>
              <a:t>‹#›</a:t>
            </a:fld>
            <a:endParaRPr lang="en-US" dirty="0">
              <a:solidFill>
                <a:srgbClr val="008755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862088-EEA8-4E63-AD80-72AF24633F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44873" y="6370152"/>
            <a:ext cx="8966900" cy="30687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GE SS Unique"/>
              </a:defRPr>
            </a:lvl1pPr>
          </a:lstStyle>
          <a:p>
            <a:r>
              <a:rPr lang="en-US">
                <a:solidFill>
                  <a:srgbClr val="2A2A2C"/>
                </a:solidFill>
              </a:rPr>
              <a:t>© 2021 KPMG Al Fozan &amp; Partners Certified Public Accountants, a registered company in the Kingdom of Saudi Arabia, a member firm of the KPMG global organization of independent member firms affiliated with KPMG International Limited, a private English company limited by guarantee. All rights reserved.  </a:t>
            </a:r>
            <a:endParaRPr lang="en-US" dirty="0">
              <a:solidFill>
                <a:srgbClr val="2A2A2C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2066844-B30C-48BF-B684-E7C51B8C09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516"/>
          <a:stretch/>
        </p:blipFill>
        <p:spPr>
          <a:xfrm>
            <a:off x="8070573" y="3"/>
            <a:ext cx="4121425" cy="1380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291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8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rgbClr val="1B8654"/>
          </a:solidFill>
          <a:latin typeface="GE SS Unique"/>
          <a:ea typeface="GE SS Unique"/>
          <a:cs typeface="GE SS Unique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1800" b="0" i="0" kern="1200">
          <a:solidFill>
            <a:srgbClr val="000000"/>
          </a:solidFill>
          <a:latin typeface="GE SS Unique"/>
          <a:ea typeface="GE SS Unique Light" charset="0"/>
          <a:cs typeface="GE SS Unique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rgbClr val="000000"/>
          </a:solidFill>
          <a:latin typeface="GE SS Unique"/>
          <a:ea typeface="GE SS Unique Light" charset="0"/>
          <a:cs typeface="GE SS Unique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b="0" i="0" kern="1200">
          <a:solidFill>
            <a:srgbClr val="000000"/>
          </a:solidFill>
          <a:latin typeface="GE SS Unique"/>
          <a:ea typeface="GE SS Unique Light" charset="0"/>
          <a:cs typeface="GE SS Unique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200" b="0" i="0" kern="1200">
          <a:solidFill>
            <a:srgbClr val="000000"/>
          </a:solidFill>
          <a:latin typeface="GE SS Unique"/>
          <a:ea typeface="GE SS Unique Light" charset="0"/>
          <a:cs typeface="GE SS Unique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200" b="0" i="0" kern="1200">
          <a:solidFill>
            <a:srgbClr val="000000"/>
          </a:solidFill>
          <a:latin typeface="GE SS Unique"/>
          <a:ea typeface="GE SS Unique Light" charset="0"/>
          <a:cs typeface="GE SS Unique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jpeg"/><Relationship Id="rId4" Type="http://schemas.openxmlformats.org/officeDocument/2006/relationships/image" Target="../media/image12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EB5A64D8-DFF5-9C14-1C21-213C0F4505E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39" b="10239"/>
          <a:stretch/>
        </p:blipFill>
        <p:spPr>
          <a:xfrm>
            <a:off x="0" y="-5610"/>
            <a:ext cx="12192000" cy="6858000"/>
          </a:xfrm>
        </p:spPr>
      </p:pic>
      <p:sp>
        <p:nvSpPr>
          <p:cNvPr id="194" name="TextBox 193">
            <a:extLst>
              <a:ext uri="{FF2B5EF4-FFF2-40B4-BE49-F238E27FC236}">
                <a16:creationId xmlns:a16="http://schemas.microsoft.com/office/drawing/2014/main" id="{5435D8C9-DB01-49E2-8993-1B2E74860FB3}"/>
              </a:ext>
            </a:extLst>
          </p:cNvPr>
          <p:cNvSpPr txBox="1"/>
          <p:nvPr/>
        </p:nvSpPr>
        <p:spPr>
          <a:xfrm>
            <a:off x="5894047" y="3490941"/>
            <a:ext cx="4888253" cy="25468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4665" marR="3976" indent="-45223" algn="justLow">
              <a:spcBef>
                <a:spcPts val="262"/>
              </a:spcBef>
            </a:pPr>
            <a:r>
              <a:rPr lang="en-US" sz="4000" b="1" dirty="0">
                <a:solidFill>
                  <a:srgbClr val="03A5B8"/>
                </a:solidFill>
                <a:latin typeface="DIN Next LT Arabic Medium" panose="020B0603020203050203" pitchFamily="34" charset="-78"/>
                <a:ea typeface="GE Dinar One" panose="020A0503020102020204" pitchFamily="18" charset="-78"/>
                <a:cs typeface="DIN Next LT Arabic Medium" panose="020B0603020203050203" pitchFamily="34" charset="-78"/>
              </a:rPr>
              <a:t>The future of primary care in Saudi Arabia</a:t>
            </a:r>
          </a:p>
          <a:p>
            <a:pPr marL="54665" marR="3976" indent="-45223" algn="justLow">
              <a:spcBef>
                <a:spcPts val="262"/>
              </a:spcBef>
            </a:pPr>
            <a:endParaRPr lang="en-US" sz="2400" dirty="0">
              <a:solidFill>
                <a:srgbClr val="03A5B8"/>
              </a:solidFill>
              <a:latin typeface="DIN Next LT Arabic Medium" panose="020B0603020203050203" pitchFamily="34" charset="-78"/>
              <a:ea typeface="GE Dinar One" panose="020A0503020102020204" pitchFamily="18" charset="-78"/>
              <a:cs typeface="DIN Next LT Arabic Medium" panose="020B0603020203050203" pitchFamily="34" charset="-78"/>
            </a:endParaRPr>
          </a:p>
          <a:p>
            <a:pPr marL="54665" marR="3976" indent="-45223" algn="justLow" rtl="1">
              <a:spcBef>
                <a:spcPts val="262"/>
              </a:spcBef>
            </a:pPr>
            <a:r>
              <a:rPr lang="en-US" sz="2400" dirty="0">
                <a:solidFill>
                  <a:srgbClr val="03A5B8"/>
                </a:solidFill>
                <a:latin typeface="DIN Next LT Arabic Medium" panose="020B0603020203050203" pitchFamily="34" charset="-78"/>
                <a:ea typeface="GE Dinar One" panose="020A0503020102020204" pitchFamily="18" charset="-78"/>
                <a:cs typeface="DIN Next LT Arabic Medium" panose="020B0603020203050203" pitchFamily="34" charset="-78"/>
              </a:rPr>
              <a:t>Dr. Khalid I. </a:t>
            </a:r>
            <a:r>
              <a:rPr lang="en-US" sz="2400" dirty="0" err="1">
                <a:solidFill>
                  <a:srgbClr val="03A5B8"/>
                </a:solidFill>
                <a:latin typeface="DIN Next LT Arabic Medium" panose="020B0603020203050203" pitchFamily="34" charset="-78"/>
                <a:ea typeface="GE Dinar One" panose="020A0503020102020204" pitchFamily="18" charset="-78"/>
                <a:cs typeface="DIN Next LT Arabic Medium" panose="020B0603020203050203" pitchFamily="34" charset="-78"/>
              </a:rPr>
              <a:t>AlQumaizi</a:t>
            </a:r>
            <a:endParaRPr lang="ar-SA" sz="2400" dirty="0">
              <a:solidFill>
                <a:srgbClr val="03A5B8"/>
              </a:solidFill>
              <a:latin typeface="DIN Next LT Arabic Medium" panose="020B0603020203050203" pitchFamily="34" charset="-78"/>
              <a:ea typeface="GE Dinar One" panose="020A0503020102020204" pitchFamily="18" charset="-78"/>
              <a:cs typeface="DIN Next LT Arabic Medium" panose="020B0603020203050203" pitchFamily="34" charset="-78"/>
            </a:endParaRPr>
          </a:p>
          <a:p>
            <a:pPr marL="54665" marR="3976" indent="-45223" algn="justLow" rtl="1">
              <a:spcBef>
                <a:spcPts val="262"/>
              </a:spcBef>
            </a:pPr>
            <a:r>
              <a:rPr lang="en-US" sz="2400" dirty="0">
                <a:solidFill>
                  <a:srgbClr val="03A5B8"/>
                </a:solidFill>
                <a:latin typeface="DIN Next LT Arabic Medium" panose="020B0603020203050203" pitchFamily="34" charset="-78"/>
                <a:ea typeface="GE Dinar One" panose="020A0503020102020204" pitchFamily="18" charset="-78"/>
                <a:cs typeface="DIN Next LT Arabic Medium" panose="020B0603020203050203" pitchFamily="34" charset="-78"/>
              </a:rPr>
              <a:t>24/09/2024</a:t>
            </a:r>
            <a:endParaRPr lang="ar-KW" sz="2400" dirty="0">
              <a:solidFill>
                <a:srgbClr val="03A5B8"/>
              </a:solidFill>
              <a:latin typeface="DIN Next LT Arabic Medium" panose="020B0603020203050203" pitchFamily="34" charset="-78"/>
              <a:ea typeface="GE Dinar One" panose="020A0503020102020204" pitchFamily="18" charset="-78"/>
              <a:cs typeface="DIN Next LT Arabic Medium" panose="020B0603020203050203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9374157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71320"/>
                <a:lumOff val="28680"/>
              </a:schemeClr>
            </a:gs>
            <a:gs pos="71000">
              <a:schemeClr val="bg1">
                <a:lumMod val="95000"/>
              </a:schemeClr>
            </a:gs>
            <a:gs pos="100000">
              <a:schemeClr val="bg1">
                <a:lumMod val="9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C14DAAA-858C-D7B5-9394-EB50F51674D4}"/>
              </a:ext>
            </a:extLst>
          </p:cNvPr>
          <p:cNvSpPr/>
          <p:nvPr/>
        </p:nvSpPr>
        <p:spPr>
          <a:xfrm>
            <a:off x="0" y="0"/>
            <a:ext cx="11535507" cy="1257300"/>
          </a:xfrm>
          <a:prstGeom prst="rect">
            <a:avLst/>
          </a:prstGeom>
          <a:gradFill flip="none" rotWithShape="1">
            <a:gsLst>
              <a:gs pos="79000">
                <a:srgbClr val="2B9ED2">
                  <a:alpha val="94000"/>
                </a:srgbClr>
              </a:gs>
              <a:gs pos="0">
                <a:srgbClr val="31C9A2">
                  <a:alpha val="68000"/>
                </a:srgbClr>
              </a:gs>
              <a:gs pos="100000">
                <a:srgbClr val="2A94D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r>
              <a:rPr lang="en-US" sz="3200" dirty="0">
                <a:latin typeface="DIN Next LT Arabic Medium" panose="020B0603020203050203" pitchFamily="34" charset="-78"/>
                <a:cs typeface="DIN Next LT Arabic Medium" panose="020B0603020203050203" pitchFamily="34" charset="-78"/>
              </a:rPr>
              <a:t>The Saudi healthcare transformation</a:t>
            </a:r>
            <a:endParaRPr lang="ar-SA" sz="3200" dirty="0">
              <a:latin typeface="DIN Next LT Arabic Medium" panose="020B0603020203050203" pitchFamily="34" charset="-78"/>
              <a:cs typeface="DIN Next LT Arabic Medium" panose="020B0603020203050203" pitchFamily="34" charset="-78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36AE757-3809-4B35-A27C-074B01E7AE3F}"/>
              </a:ext>
            </a:extLst>
          </p:cNvPr>
          <p:cNvSpPr txBox="1">
            <a:spLocks/>
          </p:cNvSpPr>
          <p:nvPr/>
        </p:nvSpPr>
        <p:spPr>
          <a:xfrm>
            <a:off x="11657710" y="5959885"/>
            <a:ext cx="428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Poppins Medium" panose="00000600000000000000" pitchFamily="2" charset="0"/>
                <a:ea typeface="+mn-ea"/>
                <a:cs typeface="Poppins Medium" panose="000006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00">
                <a:gradFill>
                  <a:gsLst>
                    <a:gs pos="0">
                      <a:srgbClr val="31C9A2"/>
                    </a:gs>
                    <a:gs pos="100000">
                      <a:srgbClr val="2A94DD"/>
                    </a:gs>
                  </a:gsLst>
                  <a:lin ang="1080000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t>0</a:t>
            </a:r>
            <a:fld id="{4AA98139-DA01-49B0-927E-FE0B7A59B93B}" type="slidenum">
              <a:rPr lang="en-US" sz="1300" smtClean="0">
                <a:gradFill>
                  <a:gsLst>
                    <a:gs pos="0">
                      <a:srgbClr val="31C9A2"/>
                    </a:gs>
                    <a:gs pos="100000">
                      <a:srgbClr val="2A94DD"/>
                    </a:gs>
                  </a:gsLst>
                  <a:lin ang="1080000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pPr/>
              <a:t>10</a:t>
            </a:fld>
            <a:endParaRPr lang="en-US" sz="1300">
              <a:gradFill>
                <a:gsLst>
                  <a:gs pos="0">
                    <a:srgbClr val="31C9A2"/>
                  </a:gs>
                  <a:gs pos="100000">
                    <a:srgbClr val="2A94DD"/>
                  </a:gs>
                </a:gsLst>
                <a:lin ang="10800000" scaled="1"/>
              </a:gra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351349-CF18-451C-A2E1-795BD866B786}"/>
              </a:ext>
            </a:extLst>
          </p:cNvPr>
          <p:cNvSpPr txBox="1"/>
          <p:nvPr/>
        </p:nvSpPr>
        <p:spPr>
          <a:xfrm rot="16200000">
            <a:off x="9539341" y="3244333"/>
            <a:ext cx="4571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rtl="1"/>
            <a:r>
              <a:rPr lang="en-US" b="1" dirty="0">
                <a:gradFill>
                  <a:gsLst>
                    <a:gs pos="21000">
                      <a:srgbClr val="31C9A2"/>
                    </a:gs>
                    <a:gs pos="100000">
                      <a:srgbClr val="2A94DD"/>
                    </a:gs>
                  </a:gsLst>
                  <a:lin ang="8100000" scaled="1"/>
                </a:gradFill>
                <a:latin typeface="DIN Next LT Arabic Light" panose="020B0303020203050203" pitchFamily="34" charset="-78"/>
                <a:cs typeface="DIN Next LT Arabic Light" panose="020B0303020203050203" pitchFamily="34" charset="-78"/>
              </a:rPr>
              <a:t>The future of primary care in Saudi Arabia</a:t>
            </a:r>
            <a:endParaRPr lang="ar-SA" b="1" dirty="0">
              <a:gradFill>
                <a:gsLst>
                  <a:gs pos="21000">
                    <a:srgbClr val="31C9A2"/>
                  </a:gs>
                  <a:gs pos="100000">
                    <a:srgbClr val="2A94DD"/>
                  </a:gs>
                </a:gsLst>
                <a:lin ang="8100000" scaled="1"/>
              </a:gradFill>
              <a:latin typeface="DIN Next LT Arabic Light" panose="020B0303020203050203" pitchFamily="34" charset="-78"/>
              <a:cs typeface="DIN Next LT Arabic Light" panose="020B0303020203050203" pitchFamily="34" charset="-78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9197" y="1891094"/>
            <a:ext cx="4730906" cy="4371211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8121650" y="2559050"/>
            <a:ext cx="2711450" cy="138499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400" b="1" dirty="0" err="1">
                <a:solidFill>
                  <a:srgbClr val="146E14"/>
                </a:solidFill>
              </a:rPr>
              <a:t>Corporatisation</a:t>
            </a:r>
            <a:endParaRPr lang="en-US" sz="1400" b="1" dirty="0">
              <a:solidFill>
                <a:srgbClr val="146E14"/>
              </a:solidFill>
            </a:endParaRPr>
          </a:p>
          <a:p>
            <a:r>
              <a:rPr lang="en-US" sz="1400" dirty="0">
                <a:solidFill>
                  <a:srgbClr val="146E14"/>
                </a:solidFill>
              </a:rPr>
              <a:t>Corporatize health services delivery. </a:t>
            </a:r>
          </a:p>
          <a:p>
            <a:r>
              <a:rPr lang="en-US" sz="1400" dirty="0">
                <a:solidFill>
                  <a:srgbClr val="146E14"/>
                </a:solidFill>
              </a:rPr>
              <a:t>Create local clusters that ultimately form accountable care </a:t>
            </a:r>
            <a:r>
              <a:rPr lang="en-US" sz="1400" dirty="0" err="1">
                <a:solidFill>
                  <a:srgbClr val="146E14"/>
                </a:solidFill>
              </a:rPr>
              <a:t>organisations</a:t>
            </a:r>
            <a:r>
              <a:rPr lang="en-US" sz="1400" dirty="0">
                <a:solidFill>
                  <a:srgbClr val="146E14"/>
                </a:solidFill>
              </a:rPr>
              <a:t>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8102600" y="4775200"/>
            <a:ext cx="2806699" cy="116955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400" b="1" dirty="0">
                <a:solidFill>
                  <a:srgbClr val="146E14"/>
                </a:solidFill>
              </a:rPr>
              <a:t>Governance</a:t>
            </a:r>
          </a:p>
          <a:p>
            <a:r>
              <a:rPr lang="en-US" sz="1400" dirty="0">
                <a:solidFill>
                  <a:srgbClr val="146E14"/>
                </a:solidFill>
              </a:rPr>
              <a:t>Strengthen </a:t>
            </a:r>
            <a:r>
              <a:rPr lang="en-US" sz="1400" dirty="0" err="1">
                <a:solidFill>
                  <a:srgbClr val="146E14"/>
                </a:solidFill>
              </a:rPr>
              <a:t>MoH</a:t>
            </a:r>
            <a:r>
              <a:rPr lang="en-US" sz="1400" dirty="0">
                <a:solidFill>
                  <a:srgbClr val="146E14"/>
                </a:solidFill>
              </a:rPr>
              <a:t> to lead sector reform and transform it to be more strategic.</a:t>
            </a:r>
          </a:p>
          <a:p>
            <a:r>
              <a:rPr lang="en-US" sz="1400" dirty="0">
                <a:solidFill>
                  <a:srgbClr val="146E14"/>
                </a:solidFill>
              </a:rPr>
              <a:t>Create a range of regulatory bodies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898900" y="1206500"/>
            <a:ext cx="3594100" cy="56169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spcAft>
                <a:spcPts val="300"/>
              </a:spcAft>
            </a:pPr>
            <a:r>
              <a:rPr lang="en-GB" sz="1400" b="1" dirty="0">
                <a:solidFill>
                  <a:srgbClr val="008A5E"/>
                </a:solidFill>
                <a:latin typeface="Calibri" panose="020F0502020204030204" pitchFamily="34" charset="0"/>
              </a:rPr>
              <a:t>Healthcare Financing</a:t>
            </a:r>
          </a:p>
          <a:p>
            <a:pPr marL="87313" indent="-8731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08A5E"/>
                </a:solidFill>
                <a:latin typeface="Calibri" panose="020F0502020204030204" pitchFamily="34" charset="0"/>
              </a:rPr>
              <a:t>Establish a value based payment system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2436" y="4824462"/>
            <a:ext cx="2908564" cy="116955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400" b="1" dirty="0" err="1">
                <a:solidFill>
                  <a:srgbClr val="78660A"/>
                </a:solidFill>
              </a:rPr>
              <a:t>eHealth</a:t>
            </a:r>
            <a:endParaRPr lang="en-US" sz="1400" b="1" dirty="0">
              <a:solidFill>
                <a:srgbClr val="78660A"/>
              </a:solidFill>
            </a:endParaRPr>
          </a:p>
          <a:p>
            <a:r>
              <a:rPr lang="en-US" sz="1400" dirty="0">
                <a:solidFill>
                  <a:srgbClr val="78660A"/>
                </a:solidFill>
              </a:rPr>
              <a:t>Provide digital tools (apps) for patients and workforce</a:t>
            </a:r>
          </a:p>
          <a:p>
            <a:r>
              <a:rPr lang="en-US" sz="1400" dirty="0">
                <a:solidFill>
                  <a:srgbClr val="78660A"/>
                </a:solidFill>
              </a:rPr>
              <a:t>Accelerate IT infrastructure build up at </a:t>
            </a:r>
            <a:r>
              <a:rPr lang="en-US" sz="1400" dirty="0" err="1">
                <a:solidFill>
                  <a:srgbClr val="78660A"/>
                </a:solidFill>
              </a:rPr>
              <a:t>MoH</a:t>
            </a:r>
            <a:endParaRPr lang="en-US" sz="1400" dirty="0">
              <a:solidFill>
                <a:srgbClr val="78660A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80010" y="2641600"/>
            <a:ext cx="2580640" cy="116955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400" b="1" dirty="0">
                <a:solidFill>
                  <a:srgbClr val="78660A"/>
                </a:solidFill>
              </a:rPr>
              <a:t>Workforce</a:t>
            </a:r>
          </a:p>
          <a:p>
            <a:r>
              <a:rPr lang="en-US" sz="1400" dirty="0">
                <a:solidFill>
                  <a:srgbClr val="78660A"/>
                </a:solidFill>
              </a:rPr>
              <a:t>Enhance quality and quantity of workforce </a:t>
            </a:r>
          </a:p>
          <a:p>
            <a:r>
              <a:rPr lang="en-US" sz="1400" dirty="0">
                <a:solidFill>
                  <a:srgbClr val="78660A"/>
                </a:solidFill>
              </a:rPr>
              <a:t>National Healthcare Workforce Planning Uni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340099" y="6186105"/>
            <a:ext cx="4648201" cy="7386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400" b="1" dirty="0">
                <a:solidFill>
                  <a:srgbClr val="78660A"/>
                </a:solidFill>
              </a:rPr>
              <a:t>Private Sector Participation</a:t>
            </a:r>
          </a:p>
          <a:p>
            <a:r>
              <a:rPr lang="en-US" sz="1400" dirty="0">
                <a:solidFill>
                  <a:srgbClr val="78660A"/>
                </a:solidFill>
              </a:rPr>
              <a:t>Privatization of healthcare services</a:t>
            </a:r>
          </a:p>
          <a:p>
            <a:r>
              <a:rPr lang="en-US" sz="1400" dirty="0">
                <a:solidFill>
                  <a:srgbClr val="78660A"/>
                </a:solidFill>
              </a:rPr>
              <a:t>Support </a:t>
            </a:r>
            <a:r>
              <a:rPr lang="en-US" sz="1400" dirty="0" err="1">
                <a:solidFill>
                  <a:srgbClr val="78660A"/>
                </a:solidFill>
              </a:rPr>
              <a:t>localisation</a:t>
            </a:r>
            <a:r>
              <a:rPr lang="en-US" sz="1400" dirty="0">
                <a:solidFill>
                  <a:srgbClr val="78660A"/>
                </a:solidFill>
              </a:rPr>
              <a:t> of pharmaceutical and medical devices</a:t>
            </a:r>
            <a:r>
              <a:rPr lang="en-US" sz="14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6334032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71320"/>
                <a:lumOff val="28680"/>
              </a:schemeClr>
            </a:gs>
            <a:gs pos="71000">
              <a:schemeClr val="bg1">
                <a:lumMod val="95000"/>
              </a:schemeClr>
            </a:gs>
            <a:gs pos="100000">
              <a:schemeClr val="bg1">
                <a:lumMod val="9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C14DAAA-858C-D7B5-9394-EB50F51674D4}"/>
              </a:ext>
            </a:extLst>
          </p:cNvPr>
          <p:cNvSpPr/>
          <p:nvPr/>
        </p:nvSpPr>
        <p:spPr>
          <a:xfrm>
            <a:off x="0" y="0"/>
            <a:ext cx="11535507" cy="1257300"/>
          </a:xfrm>
          <a:prstGeom prst="rect">
            <a:avLst/>
          </a:prstGeom>
          <a:gradFill flip="none" rotWithShape="1">
            <a:gsLst>
              <a:gs pos="79000">
                <a:srgbClr val="2B9ED2">
                  <a:alpha val="94000"/>
                </a:srgbClr>
              </a:gs>
              <a:gs pos="0">
                <a:srgbClr val="31C9A2">
                  <a:alpha val="68000"/>
                </a:srgbClr>
              </a:gs>
              <a:gs pos="100000">
                <a:srgbClr val="2A94D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r>
              <a:rPr lang="en-US" sz="3200" dirty="0">
                <a:latin typeface="DIN Next LT Arabic Medium" panose="020B0603020203050203" pitchFamily="34" charset="-78"/>
                <a:cs typeface="DIN Next LT Arabic Medium" panose="020B0603020203050203" pitchFamily="34" charset="-78"/>
              </a:rPr>
              <a:t>Model of care</a:t>
            </a:r>
            <a:endParaRPr lang="ar-SA" sz="3200" dirty="0">
              <a:latin typeface="DIN Next LT Arabic Medium" panose="020B0603020203050203" pitchFamily="34" charset="-78"/>
              <a:cs typeface="DIN Next LT Arabic Medium" panose="020B0603020203050203" pitchFamily="34" charset="-78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36AE757-3809-4B35-A27C-074B01E7AE3F}"/>
              </a:ext>
            </a:extLst>
          </p:cNvPr>
          <p:cNvSpPr txBox="1">
            <a:spLocks/>
          </p:cNvSpPr>
          <p:nvPr/>
        </p:nvSpPr>
        <p:spPr>
          <a:xfrm>
            <a:off x="11657710" y="5959885"/>
            <a:ext cx="428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Poppins Medium" panose="00000600000000000000" pitchFamily="2" charset="0"/>
                <a:ea typeface="+mn-ea"/>
                <a:cs typeface="Poppins Medium" panose="000006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00">
                <a:gradFill>
                  <a:gsLst>
                    <a:gs pos="0">
                      <a:srgbClr val="31C9A2"/>
                    </a:gs>
                    <a:gs pos="100000">
                      <a:srgbClr val="2A94DD"/>
                    </a:gs>
                  </a:gsLst>
                  <a:lin ang="1080000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t>0</a:t>
            </a:r>
            <a:fld id="{4AA98139-DA01-49B0-927E-FE0B7A59B93B}" type="slidenum">
              <a:rPr lang="en-US" sz="1300" smtClean="0">
                <a:gradFill>
                  <a:gsLst>
                    <a:gs pos="0">
                      <a:srgbClr val="31C9A2"/>
                    </a:gs>
                    <a:gs pos="100000">
                      <a:srgbClr val="2A94DD"/>
                    </a:gs>
                  </a:gsLst>
                  <a:lin ang="1080000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pPr/>
              <a:t>11</a:t>
            </a:fld>
            <a:endParaRPr lang="en-US" sz="1300">
              <a:gradFill>
                <a:gsLst>
                  <a:gs pos="0">
                    <a:srgbClr val="31C9A2"/>
                  </a:gs>
                  <a:gs pos="100000">
                    <a:srgbClr val="2A94DD"/>
                  </a:gs>
                </a:gsLst>
                <a:lin ang="10800000" scaled="1"/>
              </a:gra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351349-CF18-451C-A2E1-795BD866B786}"/>
              </a:ext>
            </a:extLst>
          </p:cNvPr>
          <p:cNvSpPr txBox="1"/>
          <p:nvPr/>
        </p:nvSpPr>
        <p:spPr>
          <a:xfrm rot="16200000">
            <a:off x="9539341" y="3244333"/>
            <a:ext cx="4571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rtl="1"/>
            <a:r>
              <a:rPr lang="en-US" b="1" dirty="0">
                <a:gradFill>
                  <a:gsLst>
                    <a:gs pos="21000">
                      <a:srgbClr val="31C9A2"/>
                    </a:gs>
                    <a:gs pos="100000">
                      <a:srgbClr val="2A94DD"/>
                    </a:gs>
                  </a:gsLst>
                  <a:lin ang="8100000" scaled="1"/>
                </a:gradFill>
                <a:latin typeface="DIN Next LT Arabic Light" panose="020B0303020203050203" pitchFamily="34" charset="-78"/>
                <a:cs typeface="DIN Next LT Arabic Light" panose="020B0303020203050203" pitchFamily="34" charset="-78"/>
              </a:rPr>
              <a:t>The future of primary care in Saudi Arabia</a:t>
            </a:r>
            <a:endParaRPr lang="ar-SA" b="1" dirty="0">
              <a:gradFill>
                <a:gsLst>
                  <a:gs pos="21000">
                    <a:srgbClr val="31C9A2"/>
                  </a:gs>
                  <a:gs pos="100000">
                    <a:srgbClr val="2A94DD"/>
                  </a:gs>
                </a:gsLst>
                <a:lin ang="8100000" scaled="1"/>
              </a:gradFill>
              <a:latin typeface="DIN Next LT Arabic Light" panose="020B0303020203050203" pitchFamily="34" charset="-78"/>
              <a:cs typeface="DIN Next LT Arabic Light" panose="020B0303020203050203" pitchFamily="34" charset="-78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482850"/>
            <a:ext cx="7753350" cy="43751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3388" y="1920715"/>
            <a:ext cx="1889924" cy="75597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63312" y="1253145"/>
            <a:ext cx="3472195" cy="3540426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6508750" y="5200650"/>
            <a:ext cx="1244600" cy="55399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500" b="1" dirty="0" err="1"/>
              <a:t>Soc</a:t>
            </a:r>
            <a:r>
              <a:rPr lang="en-US" sz="1500" b="1" dirty="0"/>
              <a:t> special</a:t>
            </a:r>
          </a:p>
          <a:p>
            <a:r>
              <a:rPr lang="en-US" sz="1500" b="1" dirty="0"/>
              <a:t>interventions</a:t>
            </a:r>
            <a:endParaRPr lang="ar-SA" sz="1500" b="1" dirty="0"/>
          </a:p>
        </p:txBody>
      </p:sp>
    </p:spTree>
    <p:extLst>
      <p:ext uri="{BB962C8B-B14F-4D97-AF65-F5344CB8AC3E}">
        <p14:creationId xmlns:p14="http://schemas.microsoft.com/office/powerpoint/2010/main" val="6148751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71320"/>
                <a:lumOff val="28680"/>
              </a:schemeClr>
            </a:gs>
            <a:gs pos="71000">
              <a:schemeClr val="bg1">
                <a:lumMod val="95000"/>
              </a:schemeClr>
            </a:gs>
            <a:gs pos="100000">
              <a:schemeClr val="bg1">
                <a:lumMod val="9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C14DAAA-858C-D7B5-9394-EB50F51674D4}"/>
              </a:ext>
            </a:extLst>
          </p:cNvPr>
          <p:cNvSpPr/>
          <p:nvPr/>
        </p:nvSpPr>
        <p:spPr>
          <a:xfrm>
            <a:off x="0" y="0"/>
            <a:ext cx="11535507" cy="1257300"/>
          </a:xfrm>
          <a:prstGeom prst="rect">
            <a:avLst/>
          </a:prstGeom>
          <a:gradFill flip="none" rotWithShape="1">
            <a:gsLst>
              <a:gs pos="79000">
                <a:srgbClr val="2B9ED2">
                  <a:alpha val="94000"/>
                </a:srgbClr>
              </a:gs>
              <a:gs pos="0">
                <a:srgbClr val="31C9A2">
                  <a:alpha val="68000"/>
                </a:srgbClr>
              </a:gs>
              <a:gs pos="100000">
                <a:srgbClr val="2A94D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r>
              <a:rPr lang="en-US" sz="3200" dirty="0">
                <a:latin typeface="DIN Next LT Arabic Medium" panose="020B0603020203050203" pitchFamily="34" charset="-78"/>
                <a:cs typeface="DIN Next LT Arabic Medium" panose="020B0603020203050203" pitchFamily="34" charset="-78"/>
              </a:rPr>
              <a:t>Shifting the mind set</a:t>
            </a:r>
            <a:endParaRPr lang="ar-SA" sz="3200" dirty="0">
              <a:latin typeface="DIN Next LT Arabic Medium" panose="020B0603020203050203" pitchFamily="34" charset="-78"/>
              <a:cs typeface="DIN Next LT Arabic Medium" panose="020B0603020203050203" pitchFamily="34" charset="-78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36AE757-3809-4B35-A27C-074B01E7AE3F}"/>
              </a:ext>
            </a:extLst>
          </p:cNvPr>
          <p:cNvSpPr txBox="1">
            <a:spLocks/>
          </p:cNvSpPr>
          <p:nvPr/>
        </p:nvSpPr>
        <p:spPr>
          <a:xfrm>
            <a:off x="11657710" y="5959885"/>
            <a:ext cx="428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Poppins Medium" panose="00000600000000000000" pitchFamily="2" charset="0"/>
                <a:ea typeface="+mn-ea"/>
                <a:cs typeface="Poppins Medium" panose="000006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AA98139-DA01-49B0-927E-FE0B7A59B93B}" type="slidenum">
              <a:rPr lang="en-US" sz="1300" smtClean="0">
                <a:gradFill>
                  <a:gsLst>
                    <a:gs pos="0">
                      <a:srgbClr val="31C9A2"/>
                    </a:gs>
                    <a:gs pos="100000">
                      <a:srgbClr val="2A94DD"/>
                    </a:gs>
                  </a:gsLst>
                  <a:lin ang="1080000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pPr/>
              <a:t>12</a:t>
            </a:fld>
            <a:endParaRPr lang="en-US" sz="1300" dirty="0">
              <a:gradFill>
                <a:gsLst>
                  <a:gs pos="0">
                    <a:srgbClr val="31C9A2"/>
                  </a:gs>
                  <a:gs pos="100000">
                    <a:srgbClr val="2A94DD"/>
                  </a:gs>
                </a:gsLst>
                <a:lin ang="10800000" scaled="1"/>
              </a:gra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351349-CF18-451C-A2E1-795BD866B786}"/>
              </a:ext>
            </a:extLst>
          </p:cNvPr>
          <p:cNvSpPr txBox="1"/>
          <p:nvPr/>
        </p:nvSpPr>
        <p:spPr>
          <a:xfrm rot="16200000">
            <a:off x="9539332" y="3244333"/>
            <a:ext cx="4571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 rtl="1"/>
            <a:r>
              <a:rPr lang="en-US" b="1" dirty="0">
                <a:gradFill>
                  <a:gsLst>
                    <a:gs pos="21000">
                      <a:srgbClr val="31C9A2"/>
                    </a:gs>
                    <a:gs pos="100000">
                      <a:srgbClr val="2A94DD"/>
                    </a:gs>
                  </a:gsLst>
                  <a:lin ang="8100000" scaled="1"/>
                </a:gradFill>
                <a:latin typeface="DIN Next LT Arabic Light" panose="020B0303020203050203" pitchFamily="34" charset="-78"/>
                <a:cs typeface="DIN Next LT Arabic Light" panose="020B0303020203050203" pitchFamily="34" charset="-78"/>
              </a:rPr>
              <a:t>The future of primary care in Saudi Arabia</a:t>
            </a:r>
            <a:endParaRPr lang="ar-SA" b="1" dirty="0">
              <a:gradFill>
                <a:gsLst>
                  <a:gs pos="21000">
                    <a:srgbClr val="31C9A2"/>
                  </a:gs>
                  <a:gs pos="100000">
                    <a:srgbClr val="2A94DD"/>
                  </a:gs>
                </a:gsLst>
                <a:lin ang="8100000" scaled="1"/>
              </a:gradFill>
              <a:latin typeface="DIN Next LT Arabic Light" panose="020B0303020203050203" pitchFamily="34" charset="-78"/>
              <a:cs typeface="DIN Next LT Arabic Light" panose="020B0303020203050203" pitchFamily="34" charset="-78"/>
            </a:endParaRPr>
          </a:p>
        </p:txBody>
      </p:sp>
      <p:sp>
        <p:nvSpPr>
          <p:cNvPr id="13" name="Pentagon 12"/>
          <p:cNvSpPr/>
          <p:nvPr/>
        </p:nvSpPr>
        <p:spPr>
          <a:xfrm>
            <a:off x="774700" y="1612900"/>
            <a:ext cx="4375150" cy="552450"/>
          </a:xfrm>
          <a:prstGeom prst="homePlate">
            <a:avLst/>
          </a:prstGeom>
          <a:solidFill>
            <a:srgbClr val="FF9B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dirty="0"/>
              <a:t>Treating sickness</a:t>
            </a:r>
            <a:endParaRPr lang="ar-SA" dirty="0"/>
          </a:p>
        </p:txBody>
      </p:sp>
      <p:sp>
        <p:nvSpPr>
          <p:cNvPr id="61" name="Pentagon 60"/>
          <p:cNvSpPr/>
          <p:nvPr/>
        </p:nvSpPr>
        <p:spPr>
          <a:xfrm>
            <a:off x="774700" y="2292350"/>
            <a:ext cx="4375150" cy="552450"/>
          </a:xfrm>
          <a:prstGeom prst="homePlate">
            <a:avLst/>
          </a:prstGeom>
          <a:solidFill>
            <a:srgbClr val="FF9B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dirty="0"/>
              <a:t>Hospital based/ specialized care</a:t>
            </a:r>
            <a:endParaRPr lang="ar-SA" dirty="0"/>
          </a:p>
        </p:txBody>
      </p:sp>
      <p:sp>
        <p:nvSpPr>
          <p:cNvPr id="62" name="Pentagon 61"/>
          <p:cNvSpPr/>
          <p:nvPr/>
        </p:nvSpPr>
        <p:spPr>
          <a:xfrm>
            <a:off x="774700" y="2971800"/>
            <a:ext cx="4375150" cy="552450"/>
          </a:xfrm>
          <a:prstGeom prst="homePlate">
            <a:avLst/>
          </a:prstGeom>
          <a:solidFill>
            <a:srgbClr val="FF9B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dirty="0"/>
              <a:t>Facility based (silos)</a:t>
            </a:r>
            <a:endParaRPr lang="ar-SA" dirty="0"/>
          </a:p>
        </p:txBody>
      </p:sp>
      <p:sp>
        <p:nvSpPr>
          <p:cNvPr id="64" name="Pentagon 63"/>
          <p:cNvSpPr/>
          <p:nvPr/>
        </p:nvSpPr>
        <p:spPr>
          <a:xfrm>
            <a:off x="774700" y="5025615"/>
            <a:ext cx="4375150" cy="552450"/>
          </a:xfrm>
          <a:prstGeom prst="homePlate">
            <a:avLst/>
          </a:prstGeom>
          <a:solidFill>
            <a:srgbClr val="FF9B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dirty="0"/>
              <a:t>Delivering care</a:t>
            </a:r>
            <a:endParaRPr lang="ar-SA" dirty="0"/>
          </a:p>
        </p:txBody>
      </p:sp>
      <p:sp>
        <p:nvSpPr>
          <p:cNvPr id="65" name="Pentagon 64"/>
          <p:cNvSpPr/>
          <p:nvPr/>
        </p:nvSpPr>
        <p:spPr>
          <a:xfrm>
            <a:off x="774700" y="4359275"/>
            <a:ext cx="4375150" cy="552450"/>
          </a:xfrm>
          <a:prstGeom prst="homePlate">
            <a:avLst/>
          </a:prstGeom>
          <a:solidFill>
            <a:srgbClr val="FF9B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dirty="0"/>
              <a:t>Focusing on inputs</a:t>
            </a:r>
            <a:endParaRPr lang="ar-SA" dirty="0"/>
          </a:p>
        </p:txBody>
      </p:sp>
      <p:sp>
        <p:nvSpPr>
          <p:cNvPr id="66" name="Pentagon 65"/>
          <p:cNvSpPr/>
          <p:nvPr/>
        </p:nvSpPr>
        <p:spPr>
          <a:xfrm>
            <a:off x="774700" y="3692935"/>
            <a:ext cx="4375150" cy="552450"/>
          </a:xfrm>
          <a:prstGeom prst="homePlate">
            <a:avLst/>
          </a:prstGeom>
          <a:solidFill>
            <a:srgbClr val="FF9B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dirty="0"/>
              <a:t>Paying for </a:t>
            </a:r>
            <a:r>
              <a:rPr lang="en-US" dirty="0" err="1"/>
              <a:t>infrastrucure</a:t>
            </a:r>
            <a:endParaRPr lang="ar-SA" dirty="0"/>
          </a:p>
        </p:txBody>
      </p:sp>
      <p:sp>
        <p:nvSpPr>
          <p:cNvPr id="67" name="Pentagon 66"/>
          <p:cNvSpPr/>
          <p:nvPr/>
        </p:nvSpPr>
        <p:spPr>
          <a:xfrm>
            <a:off x="774700" y="5691955"/>
            <a:ext cx="4375150" cy="552450"/>
          </a:xfrm>
          <a:prstGeom prst="homePlate">
            <a:avLst/>
          </a:prstGeom>
          <a:solidFill>
            <a:srgbClr val="FF9B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dirty="0"/>
              <a:t>Bringing patients to doctors</a:t>
            </a:r>
            <a:endParaRPr lang="ar-SA" dirty="0"/>
          </a:p>
        </p:txBody>
      </p:sp>
      <p:sp>
        <p:nvSpPr>
          <p:cNvPr id="68" name="Pentagon 67"/>
          <p:cNvSpPr/>
          <p:nvPr/>
        </p:nvSpPr>
        <p:spPr>
          <a:xfrm>
            <a:off x="5861050" y="1612900"/>
            <a:ext cx="4375150" cy="552450"/>
          </a:xfrm>
          <a:prstGeom prst="homePlate">
            <a:avLst/>
          </a:prstGeom>
          <a:solidFill>
            <a:srgbClr val="03A5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dirty="0"/>
              <a:t>Promoting wellness</a:t>
            </a:r>
            <a:endParaRPr lang="ar-SA" dirty="0"/>
          </a:p>
        </p:txBody>
      </p:sp>
      <p:sp>
        <p:nvSpPr>
          <p:cNvPr id="69" name="Pentagon 68"/>
          <p:cNvSpPr/>
          <p:nvPr/>
        </p:nvSpPr>
        <p:spPr>
          <a:xfrm>
            <a:off x="5861050" y="2286000"/>
            <a:ext cx="4375150" cy="552450"/>
          </a:xfrm>
          <a:prstGeom prst="homePlate">
            <a:avLst/>
          </a:prstGeom>
          <a:solidFill>
            <a:srgbClr val="03A5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dirty="0"/>
              <a:t>Community based / primary care</a:t>
            </a:r>
            <a:endParaRPr lang="ar-SA" dirty="0"/>
          </a:p>
        </p:txBody>
      </p:sp>
      <p:sp>
        <p:nvSpPr>
          <p:cNvPr id="70" name="Pentagon 69"/>
          <p:cNvSpPr/>
          <p:nvPr/>
        </p:nvSpPr>
        <p:spPr>
          <a:xfrm>
            <a:off x="5861050" y="2959100"/>
            <a:ext cx="4375150" cy="552450"/>
          </a:xfrm>
          <a:prstGeom prst="homePlate">
            <a:avLst/>
          </a:prstGeom>
          <a:solidFill>
            <a:srgbClr val="03A5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dirty="0"/>
              <a:t>Cluster based ( integrated )</a:t>
            </a:r>
            <a:endParaRPr lang="ar-SA" dirty="0"/>
          </a:p>
        </p:txBody>
      </p:sp>
      <p:sp>
        <p:nvSpPr>
          <p:cNvPr id="71" name="Pentagon 70"/>
          <p:cNvSpPr/>
          <p:nvPr/>
        </p:nvSpPr>
        <p:spPr>
          <a:xfrm>
            <a:off x="5861050" y="3692935"/>
            <a:ext cx="4375150" cy="552450"/>
          </a:xfrm>
          <a:prstGeom prst="homePlate">
            <a:avLst/>
          </a:prstGeom>
          <a:solidFill>
            <a:srgbClr val="03A5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dirty="0"/>
              <a:t>Paying for services</a:t>
            </a:r>
            <a:endParaRPr lang="ar-SA" dirty="0"/>
          </a:p>
        </p:txBody>
      </p:sp>
      <p:sp>
        <p:nvSpPr>
          <p:cNvPr id="72" name="Pentagon 71"/>
          <p:cNvSpPr/>
          <p:nvPr/>
        </p:nvSpPr>
        <p:spPr>
          <a:xfrm>
            <a:off x="5861050" y="4391025"/>
            <a:ext cx="4375150" cy="552450"/>
          </a:xfrm>
          <a:prstGeom prst="homePlate">
            <a:avLst/>
          </a:prstGeom>
          <a:solidFill>
            <a:srgbClr val="03A5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dirty="0"/>
              <a:t>Focusing on outputs/ outcomes</a:t>
            </a:r>
            <a:endParaRPr lang="ar-SA" dirty="0"/>
          </a:p>
        </p:txBody>
      </p:sp>
      <p:sp>
        <p:nvSpPr>
          <p:cNvPr id="73" name="Pentagon 72"/>
          <p:cNvSpPr/>
          <p:nvPr/>
        </p:nvSpPr>
        <p:spPr>
          <a:xfrm>
            <a:off x="5836333" y="5089115"/>
            <a:ext cx="4375150" cy="552450"/>
          </a:xfrm>
          <a:prstGeom prst="homePlate">
            <a:avLst/>
          </a:prstGeom>
          <a:solidFill>
            <a:srgbClr val="03A5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dirty="0"/>
              <a:t>Delivering value</a:t>
            </a:r>
            <a:endParaRPr lang="ar-SA" dirty="0"/>
          </a:p>
        </p:txBody>
      </p:sp>
      <p:sp>
        <p:nvSpPr>
          <p:cNvPr id="74" name="Pentagon 73"/>
          <p:cNvSpPr/>
          <p:nvPr/>
        </p:nvSpPr>
        <p:spPr>
          <a:xfrm>
            <a:off x="5836333" y="5760833"/>
            <a:ext cx="4375150" cy="552450"/>
          </a:xfrm>
          <a:prstGeom prst="homePlate">
            <a:avLst/>
          </a:prstGeom>
          <a:solidFill>
            <a:srgbClr val="03A5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dirty="0"/>
              <a:t>Bringing doctors to patients</a:t>
            </a:r>
            <a:endParaRPr lang="ar-SA" dirty="0"/>
          </a:p>
        </p:txBody>
      </p:sp>
    </p:spTree>
    <p:extLst>
      <p:ext uri="{BB962C8B-B14F-4D97-AF65-F5344CB8AC3E}">
        <p14:creationId xmlns:p14="http://schemas.microsoft.com/office/powerpoint/2010/main" val="35116148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71320"/>
                <a:lumOff val="28680"/>
              </a:schemeClr>
            </a:gs>
            <a:gs pos="71000">
              <a:schemeClr val="bg1">
                <a:lumMod val="95000"/>
              </a:schemeClr>
            </a:gs>
            <a:gs pos="100000">
              <a:schemeClr val="bg1">
                <a:lumMod val="9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C14DAAA-858C-D7B5-9394-EB50F51674D4}"/>
              </a:ext>
            </a:extLst>
          </p:cNvPr>
          <p:cNvSpPr/>
          <p:nvPr/>
        </p:nvSpPr>
        <p:spPr>
          <a:xfrm>
            <a:off x="-39268" y="0"/>
            <a:ext cx="11574776" cy="1257300"/>
          </a:xfrm>
          <a:prstGeom prst="rect">
            <a:avLst/>
          </a:prstGeom>
          <a:gradFill flip="none" rotWithShape="1">
            <a:gsLst>
              <a:gs pos="79000">
                <a:srgbClr val="2B9ED2">
                  <a:alpha val="94000"/>
                </a:srgbClr>
              </a:gs>
              <a:gs pos="0">
                <a:srgbClr val="31C9A2">
                  <a:alpha val="68000"/>
                </a:srgbClr>
              </a:gs>
              <a:gs pos="100000">
                <a:srgbClr val="2A94D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r>
              <a:rPr lang="en-US" sz="3600" dirty="0">
                <a:latin typeface="DIN Next LT Arabic Medium" panose="020B0603020203050203" pitchFamily="34" charset="-78"/>
                <a:cs typeface="DIN Next LT Arabic Medium" panose="020B0603020203050203" pitchFamily="34" charset="-78"/>
              </a:rPr>
              <a:t>Enhancement of Primary care framework</a:t>
            </a:r>
            <a:endParaRPr lang="ar-SA" sz="3600" dirty="0">
              <a:latin typeface="DIN Next LT Arabic Medium" panose="020B0603020203050203" pitchFamily="34" charset="-78"/>
              <a:cs typeface="DIN Next LT Arabic Medium" panose="020B0603020203050203" pitchFamily="34" charset="-78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36AE757-3809-4B35-A27C-074B01E7AE3F}"/>
              </a:ext>
            </a:extLst>
          </p:cNvPr>
          <p:cNvSpPr txBox="1">
            <a:spLocks/>
          </p:cNvSpPr>
          <p:nvPr/>
        </p:nvSpPr>
        <p:spPr>
          <a:xfrm>
            <a:off x="11657710" y="5959885"/>
            <a:ext cx="428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Poppins Medium" panose="00000600000000000000" pitchFamily="2" charset="0"/>
                <a:ea typeface="+mn-ea"/>
                <a:cs typeface="Poppins Medium" panose="000006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AA98139-DA01-49B0-927E-FE0B7A59B93B}" type="slidenum">
              <a:rPr lang="en-US" sz="1300" smtClean="0">
                <a:gradFill>
                  <a:gsLst>
                    <a:gs pos="0">
                      <a:srgbClr val="31C9A2"/>
                    </a:gs>
                    <a:gs pos="100000">
                      <a:srgbClr val="2A94DD"/>
                    </a:gs>
                  </a:gsLst>
                  <a:lin ang="1080000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pPr/>
              <a:t>13</a:t>
            </a:fld>
            <a:endParaRPr lang="en-US" sz="1300" dirty="0">
              <a:gradFill>
                <a:gsLst>
                  <a:gs pos="0">
                    <a:srgbClr val="31C9A2"/>
                  </a:gs>
                  <a:gs pos="100000">
                    <a:srgbClr val="2A94DD"/>
                  </a:gs>
                </a:gsLst>
                <a:lin ang="10800000" scaled="1"/>
              </a:gra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351349-CF18-451C-A2E1-795BD866B786}"/>
              </a:ext>
            </a:extLst>
          </p:cNvPr>
          <p:cNvSpPr txBox="1"/>
          <p:nvPr/>
        </p:nvSpPr>
        <p:spPr>
          <a:xfrm rot="16200000">
            <a:off x="9539342" y="3244333"/>
            <a:ext cx="4571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rtl="1"/>
            <a:r>
              <a:rPr lang="en-US" b="1" dirty="0">
                <a:gradFill>
                  <a:gsLst>
                    <a:gs pos="21000">
                      <a:srgbClr val="31C9A2"/>
                    </a:gs>
                    <a:gs pos="100000">
                      <a:srgbClr val="2A94DD"/>
                    </a:gs>
                  </a:gsLst>
                  <a:lin ang="8100000" scaled="1"/>
                </a:gradFill>
                <a:latin typeface="DIN Next LT Arabic Light" panose="020B0303020203050203" pitchFamily="34" charset="-78"/>
                <a:cs typeface="DIN Next LT Arabic Light" panose="020B0303020203050203" pitchFamily="34" charset="-78"/>
              </a:rPr>
              <a:t>The future of primary care in Saudi Arabia</a:t>
            </a:r>
            <a:endParaRPr lang="ar-SA" b="1" dirty="0">
              <a:gradFill>
                <a:gsLst>
                  <a:gs pos="21000">
                    <a:srgbClr val="31C9A2"/>
                  </a:gs>
                  <a:gs pos="100000">
                    <a:srgbClr val="2A94DD"/>
                  </a:gs>
                </a:gsLst>
                <a:lin ang="8100000" scaled="1"/>
              </a:gradFill>
              <a:latin typeface="DIN Next LT Arabic Light" panose="020B0303020203050203" pitchFamily="34" charset="-78"/>
              <a:cs typeface="DIN Next LT Arabic Light" panose="020B0303020203050203" pitchFamily="34" charset="-7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F5A9BEB-70C0-5355-CF08-BCAA35C03114}"/>
              </a:ext>
            </a:extLst>
          </p:cNvPr>
          <p:cNvSpPr txBox="1"/>
          <p:nvPr/>
        </p:nvSpPr>
        <p:spPr>
          <a:xfrm>
            <a:off x="1676024" y="1800695"/>
            <a:ext cx="82634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 rtl="1"/>
            <a:endParaRPr lang="ar-SA" sz="1800" b="1" dirty="0">
              <a:gradFill flip="none" rotWithShape="1">
                <a:gsLst>
                  <a:gs pos="0">
                    <a:srgbClr val="32CF9C"/>
                  </a:gs>
                  <a:gs pos="100000">
                    <a:srgbClr val="2A94DD"/>
                  </a:gs>
                  <a:gs pos="56000">
                    <a:srgbClr val="2A94DD"/>
                  </a:gs>
                </a:gsLst>
                <a:lin ang="2700000" scaled="1"/>
                <a:tileRect/>
              </a:gradFill>
              <a:latin typeface="DIN Next LT Arabic" panose="020B0603020203050203" pitchFamily="34" charset="-78"/>
              <a:cs typeface="DIN Next LT Arabic" panose="020B0603020203050203" pitchFamily="34" charset="-78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1E833AA-5719-444A-B6F4-5AB26239A5CE}"/>
              </a:ext>
            </a:extLst>
          </p:cNvPr>
          <p:cNvGrpSpPr/>
          <p:nvPr/>
        </p:nvGrpSpPr>
        <p:grpSpPr>
          <a:xfrm>
            <a:off x="2851150" y="1333500"/>
            <a:ext cx="5886450" cy="5410200"/>
            <a:chOff x="3203848" y="2672916"/>
            <a:chExt cx="2779314" cy="3776794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2119CA6-AAAA-4B69-9FB5-0960E24FECD3}"/>
                </a:ext>
              </a:extLst>
            </p:cNvPr>
            <p:cNvSpPr/>
            <p:nvPr/>
          </p:nvSpPr>
          <p:spPr>
            <a:xfrm>
              <a:off x="3203848" y="5051506"/>
              <a:ext cx="2779314" cy="1398204"/>
            </a:xfrm>
            <a:prstGeom prst="rect">
              <a:avLst/>
            </a:prstGeom>
            <a:solidFill>
              <a:srgbClr val="048962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4. Population Health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1B3C5DC-0DE5-434B-8FC3-3D1DFB0F9213}"/>
                </a:ext>
              </a:extLst>
            </p:cNvPr>
            <p:cNvSpPr/>
            <p:nvPr/>
          </p:nvSpPr>
          <p:spPr>
            <a:xfrm>
              <a:off x="3203848" y="3628003"/>
              <a:ext cx="2779314" cy="1398204"/>
            </a:xfrm>
            <a:prstGeom prst="rect">
              <a:avLst/>
            </a:prstGeom>
            <a:solidFill>
              <a:srgbClr val="CDD773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3. Capabilitie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543ABBE-2FFB-4C80-98EB-E79A659AA243}"/>
                </a:ext>
              </a:extLst>
            </p:cNvPr>
            <p:cNvSpPr/>
            <p:nvPr/>
          </p:nvSpPr>
          <p:spPr>
            <a:xfrm>
              <a:off x="3655069" y="5052857"/>
              <a:ext cx="1836204" cy="894148"/>
            </a:xfrm>
            <a:prstGeom prst="rect">
              <a:avLst/>
            </a:prstGeom>
            <a:solidFill>
              <a:srgbClr val="92D050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2. Engagement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AB708F2-9E6C-41F5-BEDA-DD9D722C09C9}"/>
                </a:ext>
              </a:extLst>
            </p:cNvPr>
            <p:cNvSpPr/>
            <p:nvPr/>
          </p:nvSpPr>
          <p:spPr>
            <a:xfrm>
              <a:off x="3650431" y="4132059"/>
              <a:ext cx="1836204" cy="894148"/>
            </a:xfrm>
            <a:prstGeom prst="rect">
              <a:avLst/>
            </a:prstGeom>
            <a:solidFill>
              <a:srgbClr val="D5A111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1. Services 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AB0CB56-FA13-402D-B72E-28A78513290B}"/>
                </a:ext>
              </a:extLst>
            </p:cNvPr>
            <p:cNvSpPr/>
            <p:nvPr/>
          </p:nvSpPr>
          <p:spPr>
            <a:xfrm>
              <a:off x="4198746" y="4503215"/>
              <a:ext cx="767324" cy="1011502"/>
            </a:xfrm>
            <a:prstGeom prst="ellipse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0" tIns="73152" rIns="0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Peopl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6AED140-8B4B-4A9D-BEEC-CBB4FDFCB9C5}"/>
                </a:ext>
              </a:extLst>
            </p:cNvPr>
            <p:cNvSpPr/>
            <p:nvPr/>
          </p:nvSpPr>
          <p:spPr>
            <a:xfrm>
              <a:off x="3203848" y="3125298"/>
              <a:ext cx="2779314" cy="458405"/>
            </a:xfrm>
            <a:prstGeom prst="rect">
              <a:avLst/>
            </a:prstGeom>
            <a:solidFill>
              <a:srgbClr val="037196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5. Governance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9880484-505C-424A-B08D-4970C5B6E2EF}"/>
                </a:ext>
              </a:extLst>
            </p:cNvPr>
            <p:cNvSpPr/>
            <p:nvPr/>
          </p:nvSpPr>
          <p:spPr>
            <a:xfrm>
              <a:off x="3203848" y="2672917"/>
              <a:ext cx="1375158" cy="424673"/>
            </a:xfrm>
            <a:prstGeom prst="rect">
              <a:avLst/>
            </a:prstGeom>
            <a:solidFill>
              <a:srgbClr val="858274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6. Funding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8483891-62E9-4891-8FEC-ADD9629E76CE}"/>
                </a:ext>
              </a:extLst>
            </p:cNvPr>
            <p:cNvSpPr/>
            <p:nvPr/>
          </p:nvSpPr>
          <p:spPr>
            <a:xfrm>
              <a:off x="4593505" y="2672916"/>
              <a:ext cx="1375158" cy="424673"/>
            </a:xfrm>
            <a:prstGeom prst="rect">
              <a:avLst/>
            </a:prstGeom>
            <a:solidFill>
              <a:srgbClr val="083C2D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7. Regul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755381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71320"/>
                <a:lumOff val="28680"/>
              </a:schemeClr>
            </a:gs>
            <a:gs pos="71000">
              <a:schemeClr val="bg1">
                <a:lumMod val="95000"/>
              </a:schemeClr>
            </a:gs>
            <a:gs pos="100000">
              <a:schemeClr val="bg1">
                <a:lumMod val="9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C14DAAA-858C-D7B5-9394-EB50F51674D4}"/>
              </a:ext>
            </a:extLst>
          </p:cNvPr>
          <p:cNvSpPr/>
          <p:nvPr/>
        </p:nvSpPr>
        <p:spPr>
          <a:xfrm>
            <a:off x="-39268" y="0"/>
            <a:ext cx="11574776" cy="1257300"/>
          </a:xfrm>
          <a:prstGeom prst="rect">
            <a:avLst/>
          </a:prstGeom>
          <a:gradFill flip="none" rotWithShape="1">
            <a:gsLst>
              <a:gs pos="79000">
                <a:srgbClr val="2B9ED2">
                  <a:alpha val="94000"/>
                </a:srgbClr>
              </a:gs>
              <a:gs pos="0">
                <a:srgbClr val="31C9A2">
                  <a:alpha val="68000"/>
                </a:srgbClr>
              </a:gs>
              <a:gs pos="100000">
                <a:srgbClr val="2A94D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r>
              <a:rPr lang="en-US" sz="3600" dirty="0">
                <a:latin typeface="DIN Next LT Arabic Medium" panose="020B0603020203050203" pitchFamily="34" charset="-78"/>
                <a:cs typeface="DIN Next LT Arabic Medium" panose="020B0603020203050203" pitchFamily="34" charset="-78"/>
              </a:rPr>
              <a:t>Enhancement of Primary care framework</a:t>
            </a:r>
            <a:endParaRPr lang="ar-SA" sz="3600" dirty="0">
              <a:latin typeface="DIN Next LT Arabic Medium" panose="020B0603020203050203" pitchFamily="34" charset="-78"/>
              <a:cs typeface="DIN Next LT Arabic Medium" panose="020B0603020203050203" pitchFamily="34" charset="-78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36AE757-3809-4B35-A27C-074B01E7AE3F}"/>
              </a:ext>
            </a:extLst>
          </p:cNvPr>
          <p:cNvSpPr txBox="1">
            <a:spLocks/>
          </p:cNvSpPr>
          <p:nvPr/>
        </p:nvSpPr>
        <p:spPr>
          <a:xfrm>
            <a:off x="11657710" y="5959885"/>
            <a:ext cx="428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Poppins Medium" panose="00000600000000000000" pitchFamily="2" charset="0"/>
                <a:ea typeface="+mn-ea"/>
                <a:cs typeface="Poppins Medium" panose="000006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AA98139-DA01-49B0-927E-FE0B7A59B93B}" type="slidenum">
              <a:rPr lang="en-US" sz="1300" smtClean="0">
                <a:gradFill>
                  <a:gsLst>
                    <a:gs pos="0">
                      <a:srgbClr val="31C9A2"/>
                    </a:gs>
                    <a:gs pos="100000">
                      <a:srgbClr val="2A94DD"/>
                    </a:gs>
                  </a:gsLst>
                  <a:lin ang="1080000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pPr/>
              <a:t>14</a:t>
            </a:fld>
            <a:endParaRPr lang="en-US" sz="1300" dirty="0">
              <a:gradFill>
                <a:gsLst>
                  <a:gs pos="0">
                    <a:srgbClr val="31C9A2"/>
                  </a:gs>
                  <a:gs pos="100000">
                    <a:srgbClr val="2A94DD"/>
                  </a:gs>
                </a:gsLst>
                <a:lin ang="10800000" scaled="1"/>
              </a:gra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351349-CF18-451C-A2E1-795BD866B786}"/>
              </a:ext>
            </a:extLst>
          </p:cNvPr>
          <p:cNvSpPr txBox="1"/>
          <p:nvPr/>
        </p:nvSpPr>
        <p:spPr>
          <a:xfrm rot="16200000">
            <a:off x="9539342" y="3244333"/>
            <a:ext cx="4571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rtl="1"/>
            <a:r>
              <a:rPr lang="en-US" b="1" dirty="0">
                <a:gradFill>
                  <a:gsLst>
                    <a:gs pos="21000">
                      <a:srgbClr val="31C9A2"/>
                    </a:gs>
                    <a:gs pos="100000">
                      <a:srgbClr val="2A94DD"/>
                    </a:gs>
                  </a:gsLst>
                  <a:lin ang="8100000" scaled="1"/>
                </a:gradFill>
                <a:latin typeface="DIN Next LT Arabic Light" panose="020B0303020203050203" pitchFamily="34" charset="-78"/>
                <a:cs typeface="DIN Next LT Arabic Light" panose="020B0303020203050203" pitchFamily="34" charset="-78"/>
              </a:rPr>
              <a:t>The future of primary care in Saudi Arabia</a:t>
            </a:r>
            <a:endParaRPr lang="ar-SA" b="1" dirty="0">
              <a:gradFill>
                <a:gsLst>
                  <a:gs pos="21000">
                    <a:srgbClr val="31C9A2"/>
                  </a:gs>
                  <a:gs pos="100000">
                    <a:srgbClr val="2A94DD"/>
                  </a:gs>
                </a:gsLst>
                <a:lin ang="8100000" scaled="1"/>
              </a:gradFill>
              <a:latin typeface="DIN Next LT Arabic Light" panose="020B0303020203050203" pitchFamily="34" charset="-78"/>
              <a:cs typeface="DIN Next LT Arabic Light" panose="020B0303020203050203" pitchFamily="34" charset="-7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F5A9BEB-70C0-5355-CF08-BCAA35C03114}"/>
              </a:ext>
            </a:extLst>
          </p:cNvPr>
          <p:cNvSpPr txBox="1"/>
          <p:nvPr/>
        </p:nvSpPr>
        <p:spPr>
          <a:xfrm>
            <a:off x="1676024" y="1800695"/>
            <a:ext cx="82634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 rtl="1"/>
            <a:endParaRPr lang="ar-SA" sz="1800" b="1" dirty="0">
              <a:gradFill flip="none" rotWithShape="1">
                <a:gsLst>
                  <a:gs pos="0">
                    <a:srgbClr val="32CF9C"/>
                  </a:gs>
                  <a:gs pos="100000">
                    <a:srgbClr val="2A94DD"/>
                  </a:gs>
                  <a:gs pos="56000">
                    <a:srgbClr val="2A94DD"/>
                  </a:gs>
                </a:gsLst>
                <a:lin ang="2700000" scaled="1"/>
                <a:tileRect/>
              </a:gradFill>
              <a:latin typeface="DIN Next LT Arabic" panose="020B0603020203050203" pitchFamily="34" charset="-78"/>
              <a:cs typeface="DIN Next LT Arabic" panose="020B0603020203050203" pitchFamily="34" charset="-78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1E833AA-5719-444A-B6F4-5AB26239A5CE}"/>
              </a:ext>
            </a:extLst>
          </p:cNvPr>
          <p:cNvGrpSpPr/>
          <p:nvPr/>
        </p:nvGrpSpPr>
        <p:grpSpPr>
          <a:xfrm>
            <a:off x="-12969" y="1333500"/>
            <a:ext cx="8750570" cy="5410200"/>
            <a:chOff x="1851541" y="2672916"/>
            <a:chExt cx="4131621" cy="3776794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2119CA6-AAAA-4B69-9FB5-0960E24FECD3}"/>
                </a:ext>
              </a:extLst>
            </p:cNvPr>
            <p:cNvSpPr/>
            <p:nvPr/>
          </p:nvSpPr>
          <p:spPr>
            <a:xfrm>
              <a:off x="3203848" y="5051506"/>
              <a:ext cx="2779314" cy="1398204"/>
            </a:xfrm>
            <a:prstGeom prst="rect">
              <a:avLst/>
            </a:prstGeom>
            <a:solidFill>
              <a:srgbClr val="048962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4. Population Health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1B3C5DC-0DE5-434B-8FC3-3D1DFB0F9213}"/>
                </a:ext>
              </a:extLst>
            </p:cNvPr>
            <p:cNvSpPr/>
            <p:nvPr/>
          </p:nvSpPr>
          <p:spPr>
            <a:xfrm>
              <a:off x="3203848" y="3628003"/>
              <a:ext cx="2779314" cy="1398204"/>
            </a:xfrm>
            <a:prstGeom prst="rect">
              <a:avLst/>
            </a:prstGeom>
            <a:solidFill>
              <a:srgbClr val="CDD773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3. Capabilitie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543ABBE-2FFB-4C80-98EB-E79A659AA243}"/>
                </a:ext>
              </a:extLst>
            </p:cNvPr>
            <p:cNvSpPr/>
            <p:nvPr/>
          </p:nvSpPr>
          <p:spPr>
            <a:xfrm>
              <a:off x="3655069" y="5052857"/>
              <a:ext cx="1836204" cy="894148"/>
            </a:xfrm>
            <a:prstGeom prst="rect">
              <a:avLst/>
            </a:prstGeom>
            <a:solidFill>
              <a:srgbClr val="92D050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2. Engagement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AB708F2-9E6C-41F5-BEDA-DD9D722C09C9}"/>
                </a:ext>
              </a:extLst>
            </p:cNvPr>
            <p:cNvSpPr/>
            <p:nvPr/>
          </p:nvSpPr>
          <p:spPr>
            <a:xfrm>
              <a:off x="1851541" y="3061164"/>
              <a:ext cx="1836204" cy="2885841"/>
            </a:xfrm>
            <a:prstGeom prst="rect">
              <a:avLst/>
            </a:prstGeom>
            <a:solidFill>
              <a:srgbClr val="D5A111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900" marR="0" lvl="0" indent="-34290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Services 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lang="en-US" sz="1600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lang="en-US" sz="1600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Defining the scope of services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Essential and essential plus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Mega centers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Urban </a:t>
              </a:r>
              <a:r>
                <a:rPr lang="en-US" sz="1600" kern="0" dirty="0" err="1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vs</a:t>
              </a:r>
              <a:r>
                <a:rPr lang="en-US" sz="1600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 rural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Extended working hours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Urgent Care Centers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AB0CB56-FA13-402D-B72E-28A78513290B}"/>
                </a:ext>
              </a:extLst>
            </p:cNvPr>
            <p:cNvSpPr/>
            <p:nvPr/>
          </p:nvSpPr>
          <p:spPr>
            <a:xfrm>
              <a:off x="4198746" y="4503215"/>
              <a:ext cx="767324" cy="1011502"/>
            </a:xfrm>
            <a:prstGeom prst="ellipse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0" tIns="73152" rIns="0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Peopl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6AED140-8B4B-4A9D-BEEC-CBB4FDFCB9C5}"/>
                </a:ext>
              </a:extLst>
            </p:cNvPr>
            <p:cNvSpPr/>
            <p:nvPr/>
          </p:nvSpPr>
          <p:spPr>
            <a:xfrm>
              <a:off x="3203848" y="3125298"/>
              <a:ext cx="2779314" cy="458405"/>
            </a:xfrm>
            <a:prstGeom prst="rect">
              <a:avLst/>
            </a:prstGeom>
            <a:solidFill>
              <a:srgbClr val="037196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5. Governance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9880484-505C-424A-B08D-4970C5B6E2EF}"/>
                </a:ext>
              </a:extLst>
            </p:cNvPr>
            <p:cNvSpPr/>
            <p:nvPr/>
          </p:nvSpPr>
          <p:spPr>
            <a:xfrm>
              <a:off x="3203848" y="2672917"/>
              <a:ext cx="1375158" cy="424673"/>
            </a:xfrm>
            <a:prstGeom prst="rect">
              <a:avLst/>
            </a:prstGeom>
            <a:solidFill>
              <a:srgbClr val="858274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6. Funding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8483891-62E9-4891-8FEC-ADD9629E76CE}"/>
                </a:ext>
              </a:extLst>
            </p:cNvPr>
            <p:cNvSpPr/>
            <p:nvPr/>
          </p:nvSpPr>
          <p:spPr>
            <a:xfrm>
              <a:off x="4593505" y="2672916"/>
              <a:ext cx="1375158" cy="424673"/>
            </a:xfrm>
            <a:prstGeom prst="rect">
              <a:avLst/>
            </a:prstGeom>
            <a:solidFill>
              <a:srgbClr val="083C2D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7. Regul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039750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71320"/>
                <a:lumOff val="28680"/>
              </a:schemeClr>
            </a:gs>
            <a:gs pos="71000">
              <a:schemeClr val="bg1">
                <a:lumMod val="95000"/>
              </a:schemeClr>
            </a:gs>
            <a:gs pos="100000">
              <a:schemeClr val="bg1">
                <a:lumMod val="9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C14DAAA-858C-D7B5-9394-EB50F51674D4}"/>
              </a:ext>
            </a:extLst>
          </p:cNvPr>
          <p:cNvSpPr/>
          <p:nvPr/>
        </p:nvSpPr>
        <p:spPr>
          <a:xfrm>
            <a:off x="-39268" y="0"/>
            <a:ext cx="11574776" cy="1257300"/>
          </a:xfrm>
          <a:prstGeom prst="rect">
            <a:avLst/>
          </a:prstGeom>
          <a:gradFill flip="none" rotWithShape="1">
            <a:gsLst>
              <a:gs pos="79000">
                <a:srgbClr val="2B9ED2">
                  <a:alpha val="94000"/>
                </a:srgbClr>
              </a:gs>
              <a:gs pos="0">
                <a:srgbClr val="31C9A2">
                  <a:alpha val="68000"/>
                </a:srgbClr>
              </a:gs>
              <a:gs pos="100000">
                <a:srgbClr val="2A94D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r>
              <a:rPr lang="en-US" sz="3600" dirty="0">
                <a:latin typeface="DIN Next LT Arabic Medium" panose="020B0603020203050203" pitchFamily="34" charset="-78"/>
                <a:cs typeface="DIN Next LT Arabic Medium" panose="020B0603020203050203" pitchFamily="34" charset="-78"/>
              </a:rPr>
              <a:t>Enhancement of Primary care framework</a:t>
            </a:r>
            <a:endParaRPr lang="ar-SA" sz="3600" dirty="0">
              <a:latin typeface="DIN Next LT Arabic Medium" panose="020B0603020203050203" pitchFamily="34" charset="-78"/>
              <a:cs typeface="DIN Next LT Arabic Medium" panose="020B0603020203050203" pitchFamily="34" charset="-78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36AE757-3809-4B35-A27C-074B01E7AE3F}"/>
              </a:ext>
            </a:extLst>
          </p:cNvPr>
          <p:cNvSpPr txBox="1">
            <a:spLocks/>
          </p:cNvSpPr>
          <p:nvPr/>
        </p:nvSpPr>
        <p:spPr>
          <a:xfrm>
            <a:off x="11657710" y="5959885"/>
            <a:ext cx="428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Poppins Medium" panose="00000600000000000000" pitchFamily="2" charset="0"/>
                <a:ea typeface="+mn-ea"/>
                <a:cs typeface="Poppins Medium" panose="000006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AA98139-DA01-49B0-927E-FE0B7A59B93B}" type="slidenum">
              <a:rPr lang="en-US" sz="1300" smtClean="0">
                <a:gradFill>
                  <a:gsLst>
                    <a:gs pos="0">
                      <a:srgbClr val="31C9A2"/>
                    </a:gs>
                    <a:gs pos="100000">
                      <a:srgbClr val="2A94DD"/>
                    </a:gs>
                  </a:gsLst>
                  <a:lin ang="1080000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pPr/>
              <a:t>15</a:t>
            </a:fld>
            <a:endParaRPr lang="en-US" sz="1300" dirty="0">
              <a:gradFill>
                <a:gsLst>
                  <a:gs pos="0">
                    <a:srgbClr val="31C9A2"/>
                  </a:gs>
                  <a:gs pos="100000">
                    <a:srgbClr val="2A94DD"/>
                  </a:gs>
                </a:gsLst>
                <a:lin ang="10800000" scaled="1"/>
              </a:gra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351349-CF18-451C-A2E1-795BD866B786}"/>
              </a:ext>
            </a:extLst>
          </p:cNvPr>
          <p:cNvSpPr txBox="1"/>
          <p:nvPr/>
        </p:nvSpPr>
        <p:spPr>
          <a:xfrm rot="16200000">
            <a:off x="9539342" y="3244333"/>
            <a:ext cx="4571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rtl="1"/>
            <a:r>
              <a:rPr lang="en-US" b="1" dirty="0">
                <a:gradFill>
                  <a:gsLst>
                    <a:gs pos="21000">
                      <a:srgbClr val="31C9A2"/>
                    </a:gs>
                    <a:gs pos="100000">
                      <a:srgbClr val="2A94DD"/>
                    </a:gs>
                  </a:gsLst>
                  <a:lin ang="8100000" scaled="1"/>
                </a:gradFill>
                <a:latin typeface="DIN Next LT Arabic Light" panose="020B0303020203050203" pitchFamily="34" charset="-78"/>
                <a:cs typeface="DIN Next LT Arabic Light" panose="020B0303020203050203" pitchFamily="34" charset="-78"/>
              </a:rPr>
              <a:t>The future of primary care in Saudi Arabia</a:t>
            </a:r>
            <a:endParaRPr lang="ar-SA" b="1" dirty="0">
              <a:gradFill>
                <a:gsLst>
                  <a:gs pos="21000">
                    <a:srgbClr val="31C9A2"/>
                  </a:gs>
                  <a:gs pos="100000">
                    <a:srgbClr val="2A94DD"/>
                  </a:gs>
                </a:gsLst>
                <a:lin ang="8100000" scaled="1"/>
              </a:gradFill>
              <a:latin typeface="DIN Next LT Arabic Light" panose="020B0303020203050203" pitchFamily="34" charset="-78"/>
              <a:cs typeface="DIN Next LT Arabic Light" panose="020B0303020203050203" pitchFamily="34" charset="-7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F5A9BEB-70C0-5355-CF08-BCAA35C03114}"/>
              </a:ext>
            </a:extLst>
          </p:cNvPr>
          <p:cNvSpPr txBox="1"/>
          <p:nvPr/>
        </p:nvSpPr>
        <p:spPr>
          <a:xfrm>
            <a:off x="1676024" y="1800695"/>
            <a:ext cx="82634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 rtl="1"/>
            <a:endParaRPr lang="ar-SA" sz="1800" b="1" dirty="0">
              <a:gradFill flip="none" rotWithShape="1">
                <a:gsLst>
                  <a:gs pos="0">
                    <a:srgbClr val="32CF9C"/>
                  </a:gs>
                  <a:gs pos="100000">
                    <a:srgbClr val="2A94DD"/>
                  </a:gs>
                  <a:gs pos="56000">
                    <a:srgbClr val="2A94DD"/>
                  </a:gs>
                </a:gsLst>
                <a:lin ang="2700000" scaled="1"/>
                <a:tileRect/>
              </a:gradFill>
              <a:latin typeface="DIN Next LT Arabic" panose="020B0603020203050203" pitchFamily="34" charset="-78"/>
              <a:cs typeface="DIN Next LT Arabic" panose="020B0603020203050203" pitchFamily="34" charset="-78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1E833AA-5719-444A-B6F4-5AB26239A5CE}"/>
              </a:ext>
            </a:extLst>
          </p:cNvPr>
          <p:cNvGrpSpPr/>
          <p:nvPr/>
        </p:nvGrpSpPr>
        <p:grpSpPr>
          <a:xfrm>
            <a:off x="5612" y="1333500"/>
            <a:ext cx="8731989" cy="5410200"/>
            <a:chOff x="1860314" y="2672916"/>
            <a:chExt cx="4122848" cy="3776794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2119CA6-AAAA-4B69-9FB5-0960E24FECD3}"/>
                </a:ext>
              </a:extLst>
            </p:cNvPr>
            <p:cNvSpPr/>
            <p:nvPr/>
          </p:nvSpPr>
          <p:spPr>
            <a:xfrm>
              <a:off x="3203848" y="5051506"/>
              <a:ext cx="2779314" cy="1398204"/>
            </a:xfrm>
            <a:prstGeom prst="rect">
              <a:avLst/>
            </a:prstGeom>
            <a:solidFill>
              <a:srgbClr val="048962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4. Population Health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1B3C5DC-0DE5-434B-8FC3-3D1DFB0F9213}"/>
                </a:ext>
              </a:extLst>
            </p:cNvPr>
            <p:cNvSpPr/>
            <p:nvPr/>
          </p:nvSpPr>
          <p:spPr>
            <a:xfrm>
              <a:off x="3203848" y="3628003"/>
              <a:ext cx="2779314" cy="1398204"/>
            </a:xfrm>
            <a:prstGeom prst="rect">
              <a:avLst/>
            </a:prstGeom>
            <a:solidFill>
              <a:srgbClr val="CDD773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3. Capabilitie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543ABBE-2FFB-4C80-98EB-E79A659AA243}"/>
                </a:ext>
              </a:extLst>
            </p:cNvPr>
            <p:cNvSpPr/>
            <p:nvPr/>
          </p:nvSpPr>
          <p:spPr>
            <a:xfrm>
              <a:off x="1860314" y="3122889"/>
              <a:ext cx="1836204" cy="2727162"/>
            </a:xfrm>
            <a:prstGeom prst="rect">
              <a:avLst/>
            </a:prstGeom>
            <a:solidFill>
              <a:srgbClr val="92D050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2. Engagement</a:t>
              </a: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sz="20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Defining catchment population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Population registration 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Empanelment 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Improving access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Patients satisfaction</a:t>
              </a:r>
              <a:r>
                <a:rPr kumimoji="0" lang="en-US" sz="1600" i="0" u="none" strike="noStrike" kern="0" cap="none" spc="0" normalizeH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 </a:t>
              </a:r>
              <a:endPara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AB708F2-9E6C-41F5-BEDA-DD9D722C09C9}"/>
                </a:ext>
              </a:extLst>
            </p:cNvPr>
            <p:cNvSpPr/>
            <p:nvPr/>
          </p:nvSpPr>
          <p:spPr>
            <a:xfrm>
              <a:off x="3650431" y="4132059"/>
              <a:ext cx="1836204" cy="894148"/>
            </a:xfrm>
            <a:prstGeom prst="rect">
              <a:avLst/>
            </a:prstGeom>
            <a:solidFill>
              <a:srgbClr val="D5A111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1. Services 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AB0CB56-FA13-402D-B72E-28A78513290B}"/>
                </a:ext>
              </a:extLst>
            </p:cNvPr>
            <p:cNvSpPr/>
            <p:nvPr/>
          </p:nvSpPr>
          <p:spPr>
            <a:xfrm>
              <a:off x="4198746" y="4503215"/>
              <a:ext cx="767324" cy="1011502"/>
            </a:xfrm>
            <a:prstGeom prst="ellipse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0" tIns="73152" rIns="0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Peopl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6AED140-8B4B-4A9D-BEEC-CBB4FDFCB9C5}"/>
                </a:ext>
              </a:extLst>
            </p:cNvPr>
            <p:cNvSpPr/>
            <p:nvPr/>
          </p:nvSpPr>
          <p:spPr>
            <a:xfrm>
              <a:off x="3203848" y="3125298"/>
              <a:ext cx="2779314" cy="458405"/>
            </a:xfrm>
            <a:prstGeom prst="rect">
              <a:avLst/>
            </a:prstGeom>
            <a:solidFill>
              <a:srgbClr val="037196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5. Governance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9880484-505C-424A-B08D-4970C5B6E2EF}"/>
                </a:ext>
              </a:extLst>
            </p:cNvPr>
            <p:cNvSpPr/>
            <p:nvPr/>
          </p:nvSpPr>
          <p:spPr>
            <a:xfrm>
              <a:off x="3203848" y="2672917"/>
              <a:ext cx="1375158" cy="424673"/>
            </a:xfrm>
            <a:prstGeom prst="rect">
              <a:avLst/>
            </a:prstGeom>
            <a:solidFill>
              <a:srgbClr val="858274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6. Funding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8483891-62E9-4891-8FEC-ADD9629E76CE}"/>
                </a:ext>
              </a:extLst>
            </p:cNvPr>
            <p:cNvSpPr/>
            <p:nvPr/>
          </p:nvSpPr>
          <p:spPr>
            <a:xfrm>
              <a:off x="4593505" y="2672916"/>
              <a:ext cx="1375158" cy="424673"/>
            </a:xfrm>
            <a:prstGeom prst="rect">
              <a:avLst/>
            </a:prstGeom>
            <a:solidFill>
              <a:srgbClr val="083C2D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7. Regul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22368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71320"/>
                <a:lumOff val="28680"/>
              </a:schemeClr>
            </a:gs>
            <a:gs pos="71000">
              <a:schemeClr val="bg1">
                <a:lumMod val="95000"/>
              </a:schemeClr>
            </a:gs>
            <a:gs pos="100000">
              <a:schemeClr val="bg1">
                <a:lumMod val="9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C14DAAA-858C-D7B5-9394-EB50F51674D4}"/>
              </a:ext>
            </a:extLst>
          </p:cNvPr>
          <p:cNvSpPr/>
          <p:nvPr/>
        </p:nvSpPr>
        <p:spPr>
          <a:xfrm>
            <a:off x="-39268" y="0"/>
            <a:ext cx="11574776" cy="1257300"/>
          </a:xfrm>
          <a:prstGeom prst="rect">
            <a:avLst/>
          </a:prstGeom>
          <a:gradFill flip="none" rotWithShape="1">
            <a:gsLst>
              <a:gs pos="79000">
                <a:srgbClr val="2B9ED2">
                  <a:alpha val="94000"/>
                </a:srgbClr>
              </a:gs>
              <a:gs pos="0">
                <a:srgbClr val="31C9A2">
                  <a:alpha val="68000"/>
                </a:srgbClr>
              </a:gs>
              <a:gs pos="100000">
                <a:srgbClr val="2A94D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r>
              <a:rPr lang="en-US" sz="3600" dirty="0">
                <a:latin typeface="DIN Next LT Arabic Medium" panose="020B0603020203050203" pitchFamily="34" charset="-78"/>
                <a:cs typeface="DIN Next LT Arabic Medium" panose="020B0603020203050203" pitchFamily="34" charset="-78"/>
              </a:rPr>
              <a:t>Enhancement of Primary care framework</a:t>
            </a:r>
            <a:endParaRPr lang="ar-SA" sz="3600" dirty="0">
              <a:latin typeface="DIN Next LT Arabic Medium" panose="020B0603020203050203" pitchFamily="34" charset="-78"/>
              <a:cs typeface="DIN Next LT Arabic Medium" panose="020B0603020203050203" pitchFamily="34" charset="-78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36AE757-3809-4B35-A27C-074B01E7AE3F}"/>
              </a:ext>
            </a:extLst>
          </p:cNvPr>
          <p:cNvSpPr txBox="1">
            <a:spLocks/>
          </p:cNvSpPr>
          <p:nvPr/>
        </p:nvSpPr>
        <p:spPr>
          <a:xfrm>
            <a:off x="11657710" y="5959885"/>
            <a:ext cx="428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Poppins Medium" panose="00000600000000000000" pitchFamily="2" charset="0"/>
                <a:ea typeface="+mn-ea"/>
                <a:cs typeface="Poppins Medium" panose="000006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AA98139-DA01-49B0-927E-FE0B7A59B93B}" type="slidenum">
              <a:rPr lang="en-US" sz="1300" smtClean="0">
                <a:gradFill>
                  <a:gsLst>
                    <a:gs pos="0">
                      <a:srgbClr val="31C9A2"/>
                    </a:gs>
                    <a:gs pos="100000">
                      <a:srgbClr val="2A94DD"/>
                    </a:gs>
                  </a:gsLst>
                  <a:lin ang="1080000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pPr/>
              <a:t>16</a:t>
            </a:fld>
            <a:endParaRPr lang="en-US" sz="1300" dirty="0">
              <a:gradFill>
                <a:gsLst>
                  <a:gs pos="0">
                    <a:srgbClr val="31C9A2"/>
                  </a:gs>
                  <a:gs pos="100000">
                    <a:srgbClr val="2A94DD"/>
                  </a:gs>
                </a:gsLst>
                <a:lin ang="10800000" scaled="1"/>
              </a:gra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351349-CF18-451C-A2E1-795BD866B786}"/>
              </a:ext>
            </a:extLst>
          </p:cNvPr>
          <p:cNvSpPr txBox="1"/>
          <p:nvPr/>
        </p:nvSpPr>
        <p:spPr>
          <a:xfrm rot="16200000">
            <a:off x="9539342" y="3244333"/>
            <a:ext cx="4571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rtl="1"/>
            <a:r>
              <a:rPr lang="en-US" b="1" dirty="0">
                <a:gradFill>
                  <a:gsLst>
                    <a:gs pos="21000">
                      <a:srgbClr val="31C9A2"/>
                    </a:gs>
                    <a:gs pos="100000">
                      <a:srgbClr val="2A94DD"/>
                    </a:gs>
                  </a:gsLst>
                  <a:lin ang="8100000" scaled="1"/>
                </a:gradFill>
                <a:latin typeface="DIN Next LT Arabic Light" panose="020B0303020203050203" pitchFamily="34" charset="-78"/>
                <a:cs typeface="DIN Next LT Arabic Light" panose="020B0303020203050203" pitchFamily="34" charset="-78"/>
              </a:rPr>
              <a:t>The future of primary care in Saudi Arabia</a:t>
            </a:r>
            <a:endParaRPr lang="ar-SA" b="1" dirty="0">
              <a:gradFill>
                <a:gsLst>
                  <a:gs pos="21000">
                    <a:srgbClr val="31C9A2"/>
                  </a:gs>
                  <a:gs pos="100000">
                    <a:srgbClr val="2A94DD"/>
                  </a:gs>
                </a:gsLst>
                <a:lin ang="8100000" scaled="1"/>
              </a:gradFill>
              <a:latin typeface="DIN Next LT Arabic Light" panose="020B0303020203050203" pitchFamily="34" charset="-78"/>
              <a:cs typeface="DIN Next LT Arabic Light" panose="020B0303020203050203" pitchFamily="34" charset="-7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F5A9BEB-70C0-5355-CF08-BCAA35C03114}"/>
              </a:ext>
            </a:extLst>
          </p:cNvPr>
          <p:cNvSpPr txBox="1"/>
          <p:nvPr/>
        </p:nvSpPr>
        <p:spPr>
          <a:xfrm>
            <a:off x="1676024" y="1800695"/>
            <a:ext cx="82634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 rtl="1"/>
            <a:endParaRPr lang="ar-SA" sz="1800" b="1" dirty="0">
              <a:gradFill flip="none" rotWithShape="1">
                <a:gsLst>
                  <a:gs pos="0">
                    <a:srgbClr val="32CF9C"/>
                  </a:gs>
                  <a:gs pos="100000">
                    <a:srgbClr val="2A94DD"/>
                  </a:gs>
                  <a:gs pos="56000">
                    <a:srgbClr val="2A94DD"/>
                  </a:gs>
                </a:gsLst>
                <a:lin ang="2700000" scaled="1"/>
                <a:tileRect/>
              </a:gradFill>
              <a:latin typeface="DIN Next LT Arabic" panose="020B0603020203050203" pitchFamily="34" charset="-78"/>
              <a:cs typeface="DIN Next LT Arabic" panose="020B0603020203050203" pitchFamily="34" charset="-78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1E833AA-5719-444A-B6F4-5AB26239A5CE}"/>
              </a:ext>
            </a:extLst>
          </p:cNvPr>
          <p:cNvGrpSpPr/>
          <p:nvPr/>
        </p:nvGrpSpPr>
        <p:grpSpPr>
          <a:xfrm>
            <a:off x="1" y="1333500"/>
            <a:ext cx="8737599" cy="5410200"/>
            <a:chOff x="1857665" y="2672916"/>
            <a:chExt cx="4125497" cy="3776794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2119CA6-AAAA-4B69-9FB5-0960E24FECD3}"/>
                </a:ext>
              </a:extLst>
            </p:cNvPr>
            <p:cNvSpPr/>
            <p:nvPr/>
          </p:nvSpPr>
          <p:spPr>
            <a:xfrm>
              <a:off x="3203848" y="5051506"/>
              <a:ext cx="2779314" cy="1398204"/>
            </a:xfrm>
            <a:prstGeom prst="rect">
              <a:avLst/>
            </a:prstGeom>
            <a:solidFill>
              <a:srgbClr val="048962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4. Population Health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1B3C5DC-0DE5-434B-8FC3-3D1DFB0F9213}"/>
                </a:ext>
              </a:extLst>
            </p:cNvPr>
            <p:cNvSpPr/>
            <p:nvPr/>
          </p:nvSpPr>
          <p:spPr>
            <a:xfrm>
              <a:off x="1857665" y="3092361"/>
              <a:ext cx="1877928" cy="2879943"/>
            </a:xfrm>
            <a:prstGeom prst="rect">
              <a:avLst/>
            </a:prstGeom>
            <a:solidFill>
              <a:srgbClr val="CDD773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	</a:t>
              </a: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3. Capabilities</a:t>
              </a:r>
            </a:p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sz="20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  <a:p>
              <a:pPr marL="342900" marR="0" lvl="0" indent="-34290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Capabilities profiling</a:t>
              </a:r>
            </a:p>
            <a:p>
              <a:pPr marL="342900" marR="0" lvl="0" indent="-34290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Assessment methodology</a:t>
              </a:r>
            </a:p>
            <a:p>
              <a:pPr marL="342900" marR="0" lvl="0" indent="-34290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Leadership training</a:t>
              </a:r>
            </a:p>
            <a:p>
              <a:pPr marL="342900" marR="0" lvl="0" indent="-34290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Family medicine residency</a:t>
              </a:r>
            </a:p>
            <a:p>
              <a:pPr marL="342900" marR="0" lvl="0" indent="-34290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Case coordinator , health coach</a:t>
              </a:r>
            </a:p>
            <a:p>
              <a:pPr marL="342900" marR="0" lvl="0" indent="-34290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Repurposing of the staff</a:t>
              </a:r>
            </a:p>
            <a:p>
              <a:pPr marL="342900" marR="0" lvl="0" indent="-34290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Building</a:t>
              </a:r>
              <a:r>
                <a:rPr kumimoji="0" lang="en-US" sz="1600" i="0" u="none" strike="noStrike" kern="0" cap="none" spc="0" normalizeH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 teams capabilities</a:t>
              </a:r>
            </a:p>
            <a:p>
              <a:pPr marL="342900" marR="0" lvl="0" indent="-34290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kern="0" baseline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Change</a:t>
              </a:r>
              <a:r>
                <a:rPr lang="en-US" sz="1600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 management</a:t>
              </a:r>
            </a:p>
            <a:p>
              <a:pPr marL="342900" marR="0" lvl="0" indent="-34290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Physical and IT capabilitie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543ABBE-2FFB-4C80-98EB-E79A659AA243}"/>
                </a:ext>
              </a:extLst>
            </p:cNvPr>
            <p:cNvSpPr/>
            <p:nvPr/>
          </p:nvSpPr>
          <p:spPr>
            <a:xfrm>
              <a:off x="3655069" y="5052857"/>
              <a:ext cx="1836204" cy="894148"/>
            </a:xfrm>
            <a:prstGeom prst="rect">
              <a:avLst/>
            </a:prstGeom>
            <a:solidFill>
              <a:srgbClr val="92D050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2. Engagement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AB708F2-9E6C-41F5-BEDA-DD9D722C09C9}"/>
                </a:ext>
              </a:extLst>
            </p:cNvPr>
            <p:cNvSpPr/>
            <p:nvPr/>
          </p:nvSpPr>
          <p:spPr>
            <a:xfrm>
              <a:off x="3650431" y="4132059"/>
              <a:ext cx="1836204" cy="894148"/>
            </a:xfrm>
            <a:prstGeom prst="rect">
              <a:avLst/>
            </a:prstGeom>
            <a:solidFill>
              <a:srgbClr val="D5A111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1. Services 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AB0CB56-FA13-402D-B72E-28A78513290B}"/>
                </a:ext>
              </a:extLst>
            </p:cNvPr>
            <p:cNvSpPr/>
            <p:nvPr/>
          </p:nvSpPr>
          <p:spPr>
            <a:xfrm>
              <a:off x="4198746" y="4503215"/>
              <a:ext cx="767324" cy="1011502"/>
            </a:xfrm>
            <a:prstGeom prst="ellipse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0" tIns="73152" rIns="0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Peopl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6AED140-8B4B-4A9D-BEEC-CBB4FDFCB9C5}"/>
                </a:ext>
              </a:extLst>
            </p:cNvPr>
            <p:cNvSpPr/>
            <p:nvPr/>
          </p:nvSpPr>
          <p:spPr>
            <a:xfrm>
              <a:off x="3203848" y="3125298"/>
              <a:ext cx="2779314" cy="458405"/>
            </a:xfrm>
            <a:prstGeom prst="rect">
              <a:avLst/>
            </a:prstGeom>
            <a:solidFill>
              <a:srgbClr val="037196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5. Governance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9880484-505C-424A-B08D-4970C5B6E2EF}"/>
                </a:ext>
              </a:extLst>
            </p:cNvPr>
            <p:cNvSpPr/>
            <p:nvPr/>
          </p:nvSpPr>
          <p:spPr>
            <a:xfrm>
              <a:off x="3203848" y="2672917"/>
              <a:ext cx="1375158" cy="424673"/>
            </a:xfrm>
            <a:prstGeom prst="rect">
              <a:avLst/>
            </a:prstGeom>
            <a:solidFill>
              <a:srgbClr val="858274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6. Funding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8483891-62E9-4891-8FEC-ADD9629E76CE}"/>
                </a:ext>
              </a:extLst>
            </p:cNvPr>
            <p:cNvSpPr/>
            <p:nvPr/>
          </p:nvSpPr>
          <p:spPr>
            <a:xfrm>
              <a:off x="4593505" y="2672916"/>
              <a:ext cx="1375158" cy="424673"/>
            </a:xfrm>
            <a:prstGeom prst="rect">
              <a:avLst/>
            </a:prstGeom>
            <a:solidFill>
              <a:srgbClr val="083C2D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7. Regul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180591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71320"/>
                <a:lumOff val="28680"/>
              </a:schemeClr>
            </a:gs>
            <a:gs pos="71000">
              <a:schemeClr val="bg1">
                <a:lumMod val="95000"/>
              </a:schemeClr>
            </a:gs>
            <a:gs pos="100000">
              <a:schemeClr val="bg1">
                <a:lumMod val="9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C14DAAA-858C-D7B5-9394-EB50F51674D4}"/>
              </a:ext>
            </a:extLst>
          </p:cNvPr>
          <p:cNvSpPr/>
          <p:nvPr/>
        </p:nvSpPr>
        <p:spPr>
          <a:xfrm>
            <a:off x="-39268" y="0"/>
            <a:ext cx="11574776" cy="1257300"/>
          </a:xfrm>
          <a:prstGeom prst="rect">
            <a:avLst/>
          </a:prstGeom>
          <a:gradFill flip="none" rotWithShape="1">
            <a:gsLst>
              <a:gs pos="79000">
                <a:srgbClr val="2B9ED2">
                  <a:alpha val="94000"/>
                </a:srgbClr>
              </a:gs>
              <a:gs pos="0">
                <a:srgbClr val="31C9A2">
                  <a:alpha val="68000"/>
                </a:srgbClr>
              </a:gs>
              <a:gs pos="100000">
                <a:srgbClr val="2A94D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r>
              <a:rPr lang="en-US" sz="3600" dirty="0">
                <a:latin typeface="DIN Next LT Arabic Medium" panose="020B0603020203050203" pitchFamily="34" charset="-78"/>
                <a:cs typeface="DIN Next LT Arabic Medium" panose="020B0603020203050203" pitchFamily="34" charset="-78"/>
              </a:rPr>
              <a:t>Enhancement of Primary care framework</a:t>
            </a:r>
            <a:endParaRPr lang="ar-SA" sz="3600" dirty="0">
              <a:latin typeface="DIN Next LT Arabic Medium" panose="020B0603020203050203" pitchFamily="34" charset="-78"/>
              <a:cs typeface="DIN Next LT Arabic Medium" panose="020B0603020203050203" pitchFamily="34" charset="-78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36AE757-3809-4B35-A27C-074B01E7AE3F}"/>
              </a:ext>
            </a:extLst>
          </p:cNvPr>
          <p:cNvSpPr txBox="1">
            <a:spLocks/>
          </p:cNvSpPr>
          <p:nvPr/>
        </p:nvSpPr>
        <p:spPr>
          <a:xfrm>
            <a:off x="11657710" y="5959885"/>
            <a:ext cx="428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Poppins Medium" panose="00000600000000000000" pitchFamily="2" charset="0"/>
                <a:ea typeface="+mn-ea"/>
                <a:cs typeface="Poppins Medium" panose="000006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AA98139-DA01-49B0-927E-FE0B7A59B93B}" type="slidenum">
              <a:rPr lang="en-US" sz="1300" smtClean="0">
                <a:gradFill>
                  <a:gsLst>
                    <a:gs pos="0">
                      <a:srgbClr val="31C9A2"/>
                    </a:gs>
                    <a:gs pos="100000">
                      <a:srgbClr val="2A94DD"/>
                    </a:gs>
                  </a:gsLst>
                  <a:lin ang="1080000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pPr/>
              <a:t>17</a:t>
            </a:fld>
            <a:endParaRPr lang="en-US" sz="1300" dirty="0">
              <a:gradFill>
                <a:gsLst>
                  <a:gs pos="0">
                    <a:srgbClr val="31C9A2"/>
                  </a:gs>
                  <a:gs pos="100000">
                    <a:srgbClr val="2A94DD"/>
                  </a:gs>
                </a:gsLst>
                <a:lin ang="10800000" scaled="1"/>
              </a:gra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351349-CF18-451C-A2E1-795BD866B786}"/>
              </a:ext>
            </a:extLst>
          </p:cNvPr>
          <p:cNvSpPr txBox="1"/>
          <p:nvPr/>
        </p:nvSpPr>
        <p:spPr>
          <a:xfrm rot="16200000">
            <a:off x="9539342" y="3244333"/>
            <a:ext cx="4571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rtl="1"/>
            <a:r>
              <a:rPr lang="en-US" b="1" dirty="0">
                <a:gradFill>
                  <a:gsLst>
                    <a:gs pos="21000">
                      <a:srgbClr val="31C9A2"/>
                    </a:gs>
                    <a:gs pos="100000">
                      <a:srgbClr val="2A94DD"/>
                    </a:gs>
                  </a:gsLst>
                  <a:lin ang="8100000" scaled="1"/>
                </a:gradFill>
                <a:latin typeface="DIN Next LT Arabic Light" panose="020B0303020203050203" pitchFamily="34" charset="-78"/>
                <a:cs typeface="DIN Next LT Arabic Light" panose="020B0303020203050203" pitchFamily="34" charset="-78"/>
              </a:rPr>
              <a:t>The future of primary care in Saudi Arabia</a:t>
            </a:r>
            <a:endParaRPr lang="ar-SA" b="1" dirty="0">
              <a:gradFill>
                <a:gsLst>
                  <a:gs pos="21000">
                    <a:srgbClr val="31C9A2"/>
                  </a:gs>
                  <a:gs pos="100000">
                    <a:srgbClr val="2A94DD"/>
                  </a:gs>
                </a:gsLst>
                <a:lin ang="8100000" scaled="1"/>
              </a:gradFill>
              <a:latin typeface="DIN Next LT Arabic Light" panose="020B0303020203050203" pitchFamily="34" charset="-78"/>
              <a:cs typeface="DIN Next LT Arabic Light" panose="020B0303020203050203" pitchFamily="34" charset="-7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F5A9BEB-70C0-5355-CF08-BCAA35C03114}"/>
              </a:ext>
            </a:extLst>
          </p:cNvPr>
          <p:cNvSpPr txBox="1"/>
          <p:nvPr/>
        </p:nvSpPr>
        <p:spPr>
          <a:xfrm>
            <a:off x="1676024" y="1800695"/>
            <a:ext cx="82634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 rtl="1"/>
            <a:endParaRPr lang="ar-SA" sz="1800" b="1" dirty="0">
              <a:gradFill flip="none" rotWithShape="1">
                <a:gsLst>
                  <a:gs pos="0">
                    <a:srgbClr val="32CF9C"/>
                  </a:gs>
                  <a:gs pos="100000">
                    <a:srgbClr val="2A94DD"/>
                  </a:gs>
                  <a:gs pos="56000">
                    <a:srgbClr val="2A94DD"/>
                  </a:gs>
                </a:gsLst>
                <a:lin ang="2700000" scaled="1"/>
                <a:tileRect/>
              </a:gradFill>
              <a:latin typeface="DIN Next LT Arabic" panose="020B0603020203050203" pitchFamily="34" charset="-78"/>
              <a:cs typeface="DIN Next LT Arabic" panose="020B0603020203050203" pitchFamily="34" charset="-78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1E833AA-5719-444A-B6F4-5AB26239A5CE}"/>
              </a:ext>
            </a:extLst>
          </p:cNvPr>
          <p:cNvGrpSpPr/>
          <p:nvPr/>
        </p:nvGrpSpPr>
        <p:grpSpPr>
          <a:xfrm>
            <a:off x="-24689" y="1257300"/>
            <a:ext cx="9239144" cy="4690083"/>
            <a:chOff x="1620863" y="2672916"/>
            <a:chExt cx="4362299" cy="3274089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2119CA6-AAAA-4B69-9FB5-0960E24FECD3}"/>
                </a:ext>
              </a:extLst>
            </p:cNvPr>
            <p:cNvSpPr/>
            <p:nvPr/>
          </p:nvSpPr>
          <p:spPr>
            <a:xfrm>
              <a:off x="1620863" y="3099166"/>
              <a:ext cx="2122669" cy="2847838"/>
            </a:xfrm>
            <a:prstGeom prst="rect">
              <a:avLst/>
            </a:prstGeom>
            <a:solidFill>
              <a:srgbClr val="048962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         4. Population Health</a:t>
              </a:r>
            </a:p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sz="1600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Defining population health KPIs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kern="0" noProof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Population health need </a:t>
              </a:r>
            </a:p>
            <a:p>
              <a:pPr marR="0" lvl="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     </a:t>
              </a:r>
              <a:r>
                <a:rPr lang="en-US" sz="1600" kern="0" noProof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assessment</a:t>
              </a: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 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Defining the contractual </a:t>
              </a:r>
            </a:p>
            <a:p>
              <a:pPr marR="0" lvl="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     requirements with payer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Training</a:t>
              </a:r>
              <a:r>
                <a:rPr kumimoji="0" lang="en-US" sz="1600" b="0" i="0" u="none" strike="noStrike" kern="0" cap="none" spc="0" normalizeH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 the PHM teams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1B3C5DC-0DE5-434B-8FC3-3D1DFB0F9213}"/>
                </a:ext>
              </a:extLst>
            </p:cNvPr>
            <p:cNvSpPr/>
            <p:nvPr/>
          </p:nvSpPr>
          <p:spPr>
            <a:xfrm>
              <a:off x="3203848" y="3628003"/>
              <a:ext cx="2779314" cy="1398204"/>
            </a:xfrm>
            <a:prstGeom prst="rect">
              <a:avLst/>
            </a:prstGeom>
            <a:solidFill>
              <a:srgbClr val="CDD773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3. Capabilitie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543ABBE-2FFB-4C80-98EB-E79A659AA243}"/>
                </a:ext>
              </a:extLst>
            </p:cNvPr>
            <p:cNvSpPr/>
            <p:nvPr/>
          </p:nvSpPr>
          <p:spPr>
            <a:xfrm>
              <a:off x="3655069" y="5052857"/>
              <a:ext cx="1836204" cy="894148"/>
            </a:xfrm>
            <a:prstGeom prst="rect">
              <a:avLst/>
            </a:prstGeom>
            <a:solidFill>
              <a:srgbClr val="92D050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2. Engagement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AB708F2-9E6C-41F5-BEDA-DD9D722C09C9}"/>
                </a:ext>
              </a:extLst>
            </p:cNvPr>
            <p:cNvSpPr/>
            <p:nvPr/>
          </p:nvSpPr>
          <p:spPr>
            <a:xfrm>
              <a:off x="3650431" y="4132059"/>
              <a:ext cx="1836204" cy="894148"/>
            </a:xfrm>
            <a:prstGeom prst="rect">
              <a:avLst/>
            </a:prstGeom>
            <a:solidFill>
              <a:srgbClr val="D5A111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1. Services 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AB0CB56-FA13-402D-B72E-28A78513290B}"/>
                </a:ext>
              </a:extLst>
            </p:cNvPr>
            <p:cNvSpPr/>
            <p:nvPr/>
          </p:nvSpPr>
          <p:spPr>
            <a:xfrm>
              <a:off x="4198746" y="4503215"/>
              <a:ext cx="767324" cy="1011502"/>
            </a:xfrm>
            <a:prstGeom prst="ellipse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0" tIns="73152" rIns="0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Peopl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6AED140-8B4B-4A9D-BEEC-CBB4FDFCB9C5}"/>
                </a:ext>
              </a:extLst>
            </p:cNvPr>
            <p:cNvSpPr/>
            <p:nvPr/>
          </p:nvSpPr>
          <p:spPr>
            <a:xfrm>
              <a:off x="3203848" y="3125298"/>
              <a:ext cx="2779314" cy="458405"/>
            </a:xfrm>
            <a:prstGeom prst="rect">
              <a:avLst/>
            </a:prstGeom>
            <a:solidFill>
              <a:srgbClr val="037196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5. Governance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9880484-505C-424A-B08D-4970C5B6E2EF}"/>
                </a:ext>
              </a:extLst>
            </p:cNvPr>
            <p:cNvSpPr/>
            <p:nvPr/>
          </p:nvSpPr>
          <p:spPr>
            <a:xfrm>
              <a:off x="3203848" y="2672917"/>
              <a:ext cx="1375158" cy="424673"/>
            </a:xfrm>
            <a:prstGeom prst="rect">
              <a:avLst/>
            </a:prstGeom>
            <a:solidFill>
              <a:srgbClr val="858274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6. Funding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8483891-62E9-4891-8FEC-ADD9629E76CE}"/>
                </a:ext>
              </a:extLst>
            </p:cNvPr>
            <p:cNvSpPr/>
            <p:nvPr/>
          </p:nvSpPr>
          <p:spPr>
            <a:xfrm>
              <a:off x="4593505" y="2672916"/>
              <a:ext cx="1375158" cy="424673"/>
            </a:xfrm>
            <a:prstGeom prst="rect">
              <a:avLst/>
            </a:prstGeom>
            <a:solidFill>
              <a:srgbClr val="083C2D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7. Regul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905829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71320"/>
                <a:lumOff val="28680"/>
              </a:schemeClr>
            </a:gs>
            <a:gs pos="71000">
              <a:schemeClr val="bg1">
                <a:lumMod val="95000"/>
              </a:schemeClr>
            </a:gs>
            <a:gs pos="100000">
              <a:schemeClr val="bg1">
                <a:lumMod val="9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C14DAAA-858C-D7B5-9394-EB50F51674D4}"/>
              </a:ext>
            </a:extLst>
          </p:cNvPr>
          <p:cNvSpPr/>
          <p:nvPr/>
        </p:nvSpPr>
        <p:spPr>
          <a:xfrm>
            <a:off x="-39268" y="0"/>
            <a:ext cx="11574776" cy="1257300"/>
          </a:xfrm>
          <a:prstGeom prst="rect">
            <a:avLst/>
          </a:prstGeom>
          <a:gradFill flip="none" rotWithShape="1">
            <a:gsLst>
              <a:gs pos="79000">
                <a:srgbClr val="2B9ED2">
                  <a:alpha val="94000"/>
                </a:srgbClr>
              </a:gs>
              <a:gs pos="0">
                <a:srgbClr val="31C9A2">
                  <a:alpha val="68000"/>
                </a:srgbClr>
              </a:gs>
              <a:gs pos="100000">
                <a:srgbClr val="2A94D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r>
              <a:rPr lang="en-US" sz="3600" dirty="0">
                <a:latin typeface="DIN Next LT Arabic Medium" panose="020B0603020203050203" pitchFamily="34" charset="-78"/>
                <a:cs typeface="DIN Next LT Arabic Medium" panose="020B0603020203050203" pitchFamily="34" charset="-78"/>
              </a:rPr>
              <a:t>Enhancement of Primary care framework</a:t>
            </a:r>
            <a:endParaRPr lang="ar-SA" sz="3600" dirty="0">
              <a:latin typeface="DIN Next LT Arabic Medium" panose="020B0603020203050203" pitchFamily="34" charset="-78"/>
              <a:cs typeface="DIN Next LT Arabic Medium" panose="020B0603020203050203" pitchFamily="34" charset="-78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36AE757-3809-4B35-A27C-074B01E7AE3F}"/>
              </a:ext>
            </a:extLst>
          </p:cNvPr>
          <p:cNvSpPr txBox="1">
            <a:spLocks/>
          </p:cNvSpPr>
          <p:nvPr/>
        </p:nvSpPr>
        <p:spPr>
          <a:xfrm>
            <a:off x="11657710" y="5959885"/>
            <a:ext cx="428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Poppins Medium" panose="00000600000000000000" pitchFamily="2" charset="0"/>
                <a:ea typeface="+mn-ea"/>
                <a:cs typeface="Poppins Medium" panose="000006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AA98139-DA01-49B0-927E-FE0B7A59B93B}" type="slidenum">
              <a:rPr lang="en-US" sz="1300" smtClean="0">
                <a:gradFill>
                  <a:gsLst>
                    <a:gs pos="0">
                      <a:srgbClr val="31C9A2"/>
                    </a:gs>
                    <a:gs pos="100000">
                      <a:srgbClr val="2A94DD"/>
                    </a:gs>
                  </a:gsLst>
                  <a:lin ang="1080000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pPr/>
              <a:t>18</a:t>
            </a:fld>
            <a:endParaRPr lang="en-US" sz="1300" dirty="0">
              <a:gradFill>
                <a:gsLst>
                  <a:gs pos="0">
                    <a:srgbClr val="31C9A2"/>
                  </a:gs>
                  <a:gs pos="100000">
                    <a:srgbClr val="2A94DD"/>
                  </a:gs>
                </a:gsLst>
                <a:lin ang="10800000" scaled="1"/>
              </a:gra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351349-CF18-451C-A2E1-795BD866B786}"/>
              </a:ext>
            </a:extLst>
          </p:cNvPr>
          <p:cNvSpPr txBox="1"/>
          <p:nvPr/>
        </p:nvSpPr>
        <p:spPr>
          <a:xfrm rot="16200000">
            <a:off x="9539342" y="3244333"/>
            <a:ext cx="4571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rtl="1"/>
            <a:r>
              <a:rPr lang="en-US" b="1" dirty="0">
                <a:gradFill>
                  <a:gsLst>
                    <a:gs pos="21000">
                      <a:srgbClr val="31C9A2"/>
                    </a:gs>
                    <a:gs pos="100000">
                      <a:srgbClr val="2A94DD"/>
                    </a:gs>
                  </a:gsLst>
                  <a:lin ang="8100000" scaled="1"/>
                </a:gradFill>
                <a:latin typeface="DIN Next LT Arabic Light" panose="020B0303020203050203" pitchFamily="34" charset="-78"/>
                <a:cs typeface="DIN Next LT Arabic Light" panose="020B0303020203050203" pitchFamily="34" charset="-78"/>
              </a:rPr>
              <a:t>The future of primary care in Saudi Arabia</a:t>
            </a:r>
            <a:endParaRPr lang="ar-SA" b="1" dirty="0">
              <a:gradFill>
                <a:gsLst>
                  <a:gs pos="21000">
                    <a:srgbClr val="31C9A2"/>
                  </a:gs>
                  <a:gs pos="100000">
                    <a:srgbClr val="2A94DD"/>
                  </a:gs>
                </a:gsLst>
                <a:lin ang="8100000" scaled="1"/>
              </a:gradFill>
              <a:latin typeface="DIN Next LT Arabic Light" panose="020B0303020203050203" pitchFamily="34" charset="-78"/>
              <a:cs typeface="DIN Next LT Arabic Light" panose="020B0303020203050203" pitchFamily="34" charset="-7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F5A9BEB-70C0-5355-CF08-BCAA35C03114}"/>
              </a:ext>
            </a:extLst>
          </p:cNvPr>
          <p:cNvSpPr txBox="1"/>
          <p:nvPr/>
        </p:nvSpPr>
        <p:spPr>
          <a:xfrm>
            <a:off x="1676024" y="1800695"/>
            <a:ext cx="82634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 rtl="1"/>
            <a:endParaRPr lang="ar-SA" sz="1800" b="1" dirty="0">
              <a:gradFill flip="none" rotWithShape="1">
                <a:gsLst>
                  <a:gs pos="0">
                    <a:srgbClr val="32CF9C"/>
                  </a:gs>
                  <a:gs pos="100000">
                    <a:srgbClr val="2A94DD"/>
                  </a:gs>
                  <a:gs pos="56000">
                    <a:srgbClr val="2A94DD"/>
                  </a:gs>
                </a:gsLst>
                <a:lin ang="2700000" scaled="1"/>
                <a:tileRect/>
              </a:gradFill>
              <a:latin typeface="DIN Next LT Arabic" panose="020B0603020203050203" pitchFamily="34" charset="-78"/>
              <a:cs typeface="DIN Next LT Arabic" panose="020B0603020203050203" pitchFamily="34" charset="-78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1E833AA-5719-444A-B6F4-5AB26239A5CE}"/>
              </a:ext>
            </a:extLst>
          </p:cNvPr>
          <p:cNvGrpSpPr/>
          <p:nvPr/>
        </p:nvGrpSpPr>
        <p:grpSpPr>
          <a:xfrm>
            <a:off x="1" y="1333500"/>
            <a:ext cx="8737599" cy="5410200"/>
            <a:chOff x="1857665" y="2672916"/>
            <a:chExt cx="4125497" cy="3776794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2119CA6-AAAA-4B69-9FB5-0960E24FECD3}"/>
                </a:ext>
              </a:extLst>
            </p:cNvPr>
            <p:cNvSpPr/>
            <p:nvPr/>
          </p:nvSpPr>
          <p:spPr>
            <a:xfrm>
              <a:off x="3203848" y="5051506"/>
              <a:ext cx="2779314" cy="1398204"/>
            </a:xfrm>
            <a:prstGeom prst="rect">
              <a:avLst/>
            </a:prstGeom>
            <a:solidFill>
              <a:srgbClr val="048962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4. Population Health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1B3C5DC-0DE5-434B-8FC3-3D1DFB0F9213}"/>
                </a:ext>
              </a:extLst>
            </p:cNvPr>
            <p:cNvSpPr/>
            <p:nvPr/>
          </p:nvSpPr>
          <p:spPr>
            <a:xfrm>
              <a:off x="3203848" y="3628003"/>
              <a:ext cx="2779314" cy="1398204"/>
            </a:xfrm>
            <a:prstGeom prst="rect">
              <a:avLst/>
            </a:prstGeom>
            <a:solidFill>
              <a:srgbClr val="CDD773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3. Capabilitie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543ABBE-2FFB-4C80-98EB-E79A659AA243}"/>
                </a:ext>
              </a:extLst>
            </p:cNvPr>
            <p:cNvSpPr/>
            <p:nvPr/>
          </p:nvSpPr>
          <p:spPr>
            <a:xfrm>
              <a:off x="3655069" y="5052857"/>
              <a:ext cx="1836204" cy="894148"/>
            </a:xfrm>
            <a:prstGeom prst="rect">
              <a:avLst/>
            </a:prstGeom>
            <a:solidFill>
              <a:srgbClr val="92D050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2. Engagement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AB708F2-9E6C-41F5-BEDA-DD9D722C09C9}"/>
                </a:ext>
              </a:extLst>
            </p:cNvPr>
            <p:cNvSpPr/>
            <p:nvPr/>
          </p:nvSpPr>
          <p:spPr>
            <a:xfrm>
              <a:off x="3650431" y="4132059"/>
              <a:ext cx="1836204" cy="894148"/>
            </a:xfrm>
            <a:prstGeom prst="rect">
              <a:avLst/>
            </a:prstGeom>
            <a:solidFill>
              <a:srgbClr val="D5A111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1. Services 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AB0CB56-FA13-402D-B72E-28A78513290B}"/>
                </a:ext>
              </a:extLst>
            </p:cNvPr>
            <p:cNvSpPr/>
            <p:nvPr/>
          </p:nvSpPr>
          <p:spPr>
            <a:xfrm>
              <a:off x="4198746" y="4503215"/>
              <a:ext cx="767324" cy="1011502"/>
            </a:xfrm>
            <a:prstGeom prst="ellipse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0" tIns="73152" rIns="0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Peopl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6AED140-8B4B-4A9D-BEEC-CBB4FDFCB9C5}"/>
                </a:ext>
              </a:extLst>
            </p:cNvPr>
            <p:cNvSpPr/>
            <p:nvPr/>
          </p:nvSpPr>
          <p:spPr>
            <a:xfrm>
              <a:off x="1857665" y="3125298"/>
              <a:ext cx="1844554" cy="2821707"/>
            </a:xfrm>
            <a:prstGeom prst="rect">
              <a:avLst/>
            </a:prstGeom>
            <a:solidFill>
              <a:srgbClr val="037196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5. Governance</a:t>
              </a:r>
            </a:p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sz="1600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Designing the governance of</a:t>
              </a:r>
              <a:r>
                <a:rPr kumimoji="0" lang="en-US" sz="1600" b="0" i="0" u="none" strike="noStrike" kern="0" cap="none" spc="0" normalizeH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 Primary care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The authority matrix within the ecosystem and within the clusters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0" cap="none" spc="0" normalizeH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Interaction with other stakeholders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Culture of accountability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0" cap="none" spc="0" normalizeH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Reporting </a:t>
              </a:r>
              <a:r>
                <a:rPr kumimoji="0" lang="en-US" sz="1600" b="0" i="0" u="none" strike="noStrike" kern="0" cap="none" spc="0" normalizeH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requirments</a:t>
              </a:r>
              <a:endParaRPr kumimoji="0" lang="en-US" sz="1600" b="0" i="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600" b="0" i="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9880484-505C-424A-B08D-4970C5B6E2EF}"/>
                </a:ext>
              </a:extLst>
            </p:cNvPr>
            <p:cNvSpPr/>
            <p:nvPr/>
          </p:nvSpPr>
          <p:spPr>
            <a:xfrm>
              <a:off x="3203848" y="2672917"/>
              <a:ext cx="1375158" cy="424673"/>
            </a:xfrm>
            <a:prstGeom prst="rect">
              <a:avLst/>
            </a:prstGeom>
            <a:solidFill>
              <a:srgbClr val="858274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6. Funding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8483891-62E9-4891-8FEC-ADD9629E76CE}"/>
                </a:ext>
              </a:extLst>
            </p:cNvPr>
            <p:cNvSpPr/>
            <p:nvPr/>
          </p:nvSpPr>
          <p:spPr>
            <a:xfrm>
              <a:off x="4593505" y="2672916"/>
              <a:ext cx="1375158" cy="424673"/>
            </a:xfrm>
            <a:prstGeom prst="rect">
              <a:avLst/>
            </a:prstGeom>
            <a:solidFill>
              <a:srgbClr val="083C2D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7. Regul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758912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71320"/>
                <a:lumOff val="28680"/>
              </a:schemeClr>
            </a:gs>
            <a:gs pos="71000">
              <a:schemeClr val="bg1">
                <a:lumMod val="95000"/>
              </a:schemeClr>
            </a:gs>
            <a:gs pos="100000">
              <a:schemeClr val="bg1">
                <a:lumMod val="9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C14DAAA-858C-D7B5-9394-EB50F51674D4}"/>
              </a:ext>
            </a:extLst>
          </p:cNvPr>
          <p:cNvSpPr/>
          <p:nvPr/>
        </p:nvSpPr>
        <p:spPr>
          <a:xfrm>
            <a:off x="-39268" y="0"/>
            <a:ext cx="11574776" cy="1257300"/>
          </a:xfrm>
          <a:prstGeom prst="rect">
            <a:avLst/>
          </a:prstGeom>
          <a:gradFill flip="none" rotWithShape="1">
            <a:gsLst>
              <a:gs pos="79000">
                <a:srgbClr val="2B9ED2">
                  <a:alpha val="94000"/>
                </a:srgbClr>
              </a:gs>
              <a:gs pos="0">
                <a:srgbClr val="31C9A2">
                  <a:alpha val="68000"/>
                </a:srgbClr>
              </a:gs>
              <a:gs pos="100000">
                <a:srgbClr val="2A94D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r>
              <a:rPr lang="en-US" sz="3600" dirty="0">
                <a:latin typeface="DIN Next LT Arabic Medium" panose="020B0603020203050203" pitchFamily="34" charset="-78"/>
                <a:cs typeface="DIN Next LT Arabic Medium" panose="020B0603020203050203" pitchFamily="34" charset="-78"/>
              </a:rPr>
              <a:t>Enhancement of Primary care framework</a:t>
            </a:r>
            <a:endParaRPr lang="ar-SA" sz="3600" dirty="0">
              <a:latin typeface="DIN Next LT Arabic Medium" panose="020B0603020203050203" pitchFamily="34" charset="-78"/>
              <a:cs typeface="DIN Next LT Arabic Medium" panose="020B0603020203050203" pitchFamily="34" charset="-78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36AE757-3809-4B35-A27C-074B01E7AE3F}"/>
              </a:ext>
            </a:extLst>
          </p:cNvPr>
          <p:cNvSpPr txBox="1">
            <a:spLocks/>
          </p:cNvSpPr>
          <p:nvPr/>
        </p:nvSpPr>
        <p:spPr>
          <a:xfrm>
            <a:off x="11657710" y="5959885"/>
            <a:ext cx="428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Poppins Medium" panose="00000600000000000000" pitchFamily="2" charset="0"/>
                <a:ea typeface="+mn-ea"/>
                <a:cs typeface="Poppins Medium" panose="000006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AA98139-DA01-49B0-927E-FE0B7A59B93B}" type="slidenum">
              <a:rPr lang="en-US" sz="1300" smtClean="0">
                <a:gradFill>
                  <a:gsLst>
                    <a:gs pos="0">
                      <a:srgbClr val="31C9A2"/>
                    </a:gs>
                    <a:gs pos="100000">
                      <a:srgbClr val="2A94DD"/>
                    </a:gs>
                  </a:gsLst>
                  <a:lin ang="1080000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pPr/>
              <a:t>19</a:t>
            </a:fld>
            <a:endParaRPr lang="en-US" sz="1300" dirty="0">
              <a:gradFill>
                <a:gsLst>
                  <a:gs pos="0">
                    <a:srgbClr val="31C9A2"/>
                  </a:gs>
                  <a:gs pos="100000">
                    <a:srgbClr val="2A94DD"/>
                  </a:gs>
                </a:gsLst>
                <a:lin ang="10800000" scaled="1"/>
              </a:gra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351349-CF18-451C-A2E1-795BD866B786}"/>
              </a:ext>
            </a:extLst>
          </p:cNvPr>
          <p:cNvSpPr txBox="1"/>
          <p:nvPr/>
        </p:nvSpPr>
        <p:spPr>
          <a:xfrm rot="16200000">
            <a:off x="9539342" y="3244333"/>
            <a:ext cx="4571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rtl="1"/>
            <a:r>
              <a:rPr lang="en-US" b="1" dirty="0">
                <a:gradFill>
                  <a:gsLst>
                    <a:gs pos="21000">
                      <a:srgbClr val="31C9A2"/>
                    </a:gs>
                    <a:gs pos="100000">
                      <a:srgbClr val="2A94DD"/>
                    </a:gs>
                  </a:gsLst>
                  <a:lin ang="8100000" scaled="1"/>
                </a:gradFill>
                <a:latin typeface="DIN Next LT Arabic Light" panose="020B0303020203050203" pitchFamily="34" charset="-78"/>
                <a:cs typeface="DIN Next LT Arabic Light" panose="020B0303020203050203" pitchFamily="34" charset="-78"/>
              </a:rPr>
              <a:t>The future of primary care in Saudi Arabia</a:t>
            </a:r>
            <a:endParaRPr lang="ar-SA" b="1" dirty="0">
              <a:gradFill>
                <a:gsLst>
                  <a:gs pos="21000">
                    <a:srgbClr val="31C9A2"/>
                  </a:gs>
                  <a:gs pos="100000">
                    <a:srgbClr val="2A94DD"/>
                  </a:gs>
                </a:gsLst>
                <a:lin ang="8100000" scaled="1"/>
              </a:gradFill>
              <a:latin typeface="DIN Next LT Arabic Light" panose="020B0303020203050203" pitchFamily="34" charset="-78"/>
              <a:cs typeface="DIN Next LT Arabic Light" panose="020B0303020203050203" pitchFamily="34" charset="-7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F5A9BEB-70C0-5355-CF08-BCAA35C03114}"/>
              </a:ext>
            </a:extLst>
          </p:cNvPr>
          <p:cNvSpPr txBox="1"/>
          <p:nvPr/>
        </p:nvSpPr>
        <p:spPr>
          <a:xfrm>
            <a:off x="1676024" y="1800695"/>
            <a:ext cx="82634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 rtl="1"/>
            <a:endParaRPr lang="ar-SA" sz="1800" b="1" dirty="0">
              <a:gradFill flip="none" rotWithShape="1">
                <a:gsLst>
                  <a:gs pos="0">
                    <a:srgbClr val="32CF9C"/>
                  </a:gs>
                  <a:gs pos="100000">
                    <a:srgbClr val="2A94DD"/>
                  </a:gs>
                  <a:gs pos="56000">
                    <a:srgbClr val="2A94DD"/>
                  </a:gs>
                </a:gsLst>
                <a:lin ang="2700000" scaled="1"/>
                <a:tileRect/>
              </a:gradFill>
              <a:latin typeface="DIN Next LT Arabic" panose="020B0603020203050203" pitchFamily="34" charset="-78"/>
              <a:cs typeface="DIN Next LT Arabic" panose="020B0603020203050203" pitchFamily="34" charset="-78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1E833AA-5719-444A-B6F4-5AB26239A5CE}"/>
              </a:ext>
            </a:extLst>
          </p:cNvPr>
          <p:cNvGrpSpPr/>
          <p:nvPr/>
        </p:nvGrpSpPr>
        <p:grpSpPr>
          <a:xfrm>
            <a:off x="1" y="1333500"/>
            <a:ext cx="8737599" cy="5410200"/>
            <a:chOff x="1857665" y="2672916"/>
            <a:chExt cx="4125497" cy="3776794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2119CA6-AAAA-4B69-9FB5-0960E24FECD3}"/>
                </a:ext>
              </a:extLst>
            </p:cNvPr>
            <p:cNvSpPr/>
            <p:nvPr/>
          </p:nvSpPr>
          <p:spPr>
            <a:xfrm>
              <a:off x="3203848" y="5051506"/>
              <a:ext cx="2779314" cy="1398204"/>
            </a:xfrm>
            <a:prstGeom prst="rect">
              <a:avLst/>
            </a:prstGeom>
            <a:solidFill>
              <a:srgbClr val="048962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4. Population Health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1B3C5DC-0DE5-434B-8FC3-3D1DFB0F9213}"/>
                </a:ext>
              </a:extLst>
            </p:cNvPr>
            <p:cNvSpPr/>
            <p:nvPr/>
          </p:nvSpPr>
          <p:spPr>
            <a:xfrm>
              <a:off x="3203848" y="3628003"/>
              <a:ext cx="2779314" cy="1398204"/>
            </a:xfrm>
            <a:prstGeom prst="rect">
              <a:avLst/>
            </a:prstGeom>
            <a:solidFill>
              <a:srgbClr val="CDD773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3. Capabilitie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543ABBE-2FFB-4C80-98EB-E79A659AA243}"/>
                </a:ext>
              </a:extLst>
            </p:cNvPr>
            <p:cNvSpPr/>
            <p:nvPr/>
          </p:nvSpPr>
          <p:spPr>
            <a:xfrm>
              <a:off x="3655069" y="5052857"/>
              <a:ext cx="1836204" cy="894148"/>
            </a:xfrm>
            <a:prstGeom prst="rect">
              <a:avLst/>
            </a:prstGeom>
            <a:solidFill>
              <a:srgbClr val="92D050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2. Engagement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AB708F2-9E6C-41F5-BEDA-DD9D722C09C9}"/>
                </a:ext>
              </a:extLst>
            </p:cNvPr>
            <p:cNvSpPr/>
            <p:nvPr/>
          </p:nvSpPr>
          <p:spPr>
            <a:xfrm>
              <a:off x="3650431" y="4132059"/>
              <a:ext cx="1836204" cy="894148"/>
            </a:xfrm>
            <a:prstGeom prst="rect">
              <a:avLst/>
            </a:prstGeom>
            <a:solidFill>
              <a:srgbClr val="D5A111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1. Services 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AB0CB56-FA13-402D-B72E-28A78513290B}"/>
                </a:ext>
              </a:extLst>
            </p:cNvPr>
            <p:cNvSpPr/>
            <p:nvPr/>
          </p:nvSpPr>
          <p:spPr>
            <a:xfrm>
              <a:off x="4198746" y="4503215"/>
              <a:ext cx="767324" cy="1011502"/>
            </a:xfrm>
            <a:prstGeom prst="ellipse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0" tIns="73152" rIns="0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Peopl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6AED140-8B4B-4A9D-BEEC-CBB4FDFCB9C5}"/>
                </a:ext>
              </a:extLst>
            </p:cNvPr>
            <p:cNvSpPr/>
            <p:nvPr/>
          </p:nvSpPr>
          <p:spPr>
            <a:xfrm>
              <a:off x="3203848" y="3125298"/>
              <a:ext cx="2779314" cy="458405"/>
            </a:xfrm>
            <a:prstGeom prst="rect">
              <a:avLst/>
            </a:prstGeom>
            <a:solidFill>
              <a:srgbClr val="037196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5. Governance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9880484-505C-424A-B08D-4970C5B6E2EF}"/>
                </a:ext>
              </a:extLst>
            </p:cNvPr>
            <p:cNvSpPr/>
            <p:nvPr/>
          </p:nvSpPr>
          <p:spPr>
            <a:xfrm>
              <a:off x="1857665" y="3125298"/>
              <a:ext cx="1909712" cy="2821707"/>
            </a:xfrm>
            <a:prstGeom prst="rect">
              <a:avLst/>
            </a:prstGeom>
            <a:solidFill>
              <a:srgbClr val="858274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6. Funding</a:t>
              </a: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sz="20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Defining funding strategy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Incentivize mobilization of services to primary care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Funding</a:t>
              </a:r>
              <a:r>
                <a:rPr kumimoji="0" lang="en-US" sz="1600" i="0" u="none" strike="noStrike" kern="0" cap="none" spc="0" normalizeH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 the </a:t>
              </a:r>
              <a:r>
                <a:rPr lang="en-US" sz="1600" kern="0" dirty="0" err="1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C</a:t>
              </a:r>
              <a:r>
                <a:rPr kumimoji="0" lang="en-US" sz="1600" i="0" u="none" strike="noStrike" kern="0" cap="none" spc="0" normalizeH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apex by PPP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kern="0" baseline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Measuring the ROI </a:t>
              </a:r>
              <a:endPara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sz="20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8483891-62E9-4891-8FEC-ADD9629E76CE}"/>
                </a:ext>
              </a:extLst>
            </p:cNvPr>
            <p:cNvSpPr/>
            <p:nvPr/>
          </p:nvSpPr>
          <p:spPr>
            <a:xfrm>
              <a:off x="4593505" y="2672916"/>
              <a:ext cx="1375158" cy="424673"/>
            </a:xfrm>
            <a:prstGeom prst="rect">
              <a:avLst/>
            </a:prstGeom>
            <a:solidFill>
              <a:srgbClr val="083C2D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7. Regul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328392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38000">
              <a:schemeClr val="bg1">
                <a:lumMod val="95000"/>
              </a:schemeClr>
            </a:gs>
            <a:gs pos="100000">
              <a:schemeClr val="bg1">
                <a:lumMod val="9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Rectangle 163">
            <a:extLst>
              <a:ext uri="{FF2B5EF4-FFF2-40B4-BE49-F238E27FC236}">
                <a16:creationId xmlns:a16="http://schemas.microsoft.com/office/drawing/2014/main" id="{06B08240-C330-4400-AE89-7DD27375A8ED}"/>
              </a:ext>
            </a:extLst>
          </p:cNvPr>
          <p:cNvSpPr/>
          <p:nvPr/>
        </p:nvSpPr>
        <p:spPr>
          <a:xfrm>
            <a:off x="0" y="11220"/>
            <a:ext cx="11530361" cy="6857999"/>
          </a:xfrm>
          <a:prstGeom prst="rect">
            <a:avLst/>
          </a:prstGeom>
          <a:gradFill flip="none" rotWithShape="1">
            <a:gsLst>
              <a:gs pos="65000">
                <a:srgbClr val="2B9ED2">
                  <a:alpha val="94000"/>
                </a:srgbClr>
              </a:gs>
              <a:gs pos="29000">
                <a:srgbClr val="31C9A2">
                  <a:alpha val="68000"/>
                </a:srgbClr>
              </a:gs>
              <a:gs pos="0">
                <a:schemeClr val="bg1">
                  <a:alpha val="0"/>
                </a:schemeClr>
              </a:gs>
              <a:gs pos="100000">
                <a:srgbClr val="2A94D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صورة 296">
            <a:extLst>
              <a:ext uri="{FF2B5EF4-FFF2-40B4-BE49-F238E27FC236}">
                <a16:creationId xmlns:a16="http://schemas.microsoft.com/office/drawing/2014/main" id="{24042EDD-4770-0ADE-9AE7-526FD270B2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5730" y="2719914"/>
            <a:ext cx="4320540" cy="161588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20E5EF2-4BBE-3EC2-A083-C6B4775DBE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0800000">
            <a:off x="0" y="1701799"/>
            <a:ext cx="6451600" cy="51562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E678CC2-1987-1C00-8932-967168B7355C}"/>
              </a:ext>
            </a:extLst>
          </p:cNvPr>
          <p:cNvSpPr txBox="1"/>
          <p:nvPr/>
        </p:nvSpPr>
        <p:spPr>
          <a:xfrm rot="16200000">
            <a:off x="9516892" y="3244333"/>
            <a:ext cx="4571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rtl="1"/>
            <a:r>
              <a:rPr lang="en-US" b="1" dirty="0">
                <a:gradFill>
                  <a:gsLst>
                    <a:gs pos="21000">
                      <a:srgbClr val="31C9A2"/>
                    </a:gs>
                    <a:gs pos="100000">
                      <a:srgbClr val="2A94DD"/>
                    </a:gs>
                  </a:gsLst>
                  <a:lin ang="8100000" scaled="1"/>
                </a:gradFill>
                <a:latin typeface="DIN Next LT Arabic Light" panose="020B0303020203050203" pitchFamily="34" charset="-78"/>
                <a:cs typeface="DIN Next LT Arabic Light" panose="020B0303020203050203" pitchFamily="34" charset="-78"/>
              </a:rPr>
              <a:t>The future of primary care in Saudi Arabia</a:t>
            </a:r>
            <a:endParaRPr lang="ar-SA" b="1" dirty="0">
              <a:gradFill>
                <a:gsLst>
                  <a:gs pos="21000">
                    <a:srgbClr val="31C9A2"/>
                  </a:gs>
                  <a:gs pos="100000">
                    <a:srgbClr val="2A94DD"/>
                  </a:gs>
                </a:gsLst>
                <a:lin ang="8100000" scaled="1"/>
              </a:gradFill>
              <a:latin typeface="DIN Next LT Arabic Light" panose="020B0303020203050203" pitchFamily="34" charset="-78"/>
              <a:cs typeface="DIN Next LT Arabic Light" panose="020B0303020203050203" pitchFamily="34" charset="-78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153036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4678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71320"/>
                <a:lumOff val="28680"/>
              </a:schemeClr>
            </a:gs>
            <a:gs pos="71000">
              <a:schemeClr val="bg1">
                <a:lumMod val="95000"/>
              </a:schemeClr>
            </a:gs>
            <a:gs pos="100000">
              <a:schemeClr val="bg1">
                <a:lumMod val="9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C14DAAA-858C-D7B5-9394-EB50F51674D4}"/>
              </a:ext>
            </a:extLst>
          </p:cNvPr>
          <p:cNvSpPr/>
          <p:nvPr/>
        </p:nvSpPr>
        <p:spPr>
          <a:xfrm>
            <a:off x="-39268" y="0"/>
            <a:ext cx="11574776" cy="1257300"/>
          </a:xfrm>
          <a:prstGeom prst="rect">
            <a:avLst/>
          </a:prstGeom>
          <a:gradFill flip="none" rotWithShape="1">
            <a:gsLst>
              <a:gs pos="79000">
                <a:srgbClr val="2B9ED2">
                  <a:alpha val="94000"/>
                </a:srgbClr>
              </a:gs>
              <a:gs pos="0">
                <a:srgbClr val="31C9A2">
                  <a:alpha val="68000"/>
                </a:srgbClr>
              </a:gs>
              <a:gs pos="100000">
                <a:srgbClr val="2A94D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r>
              <a:rPr lang="en-US" sz="3600" dirty="0">
                <a:latin typeface="DIN Next LT Arabic Medium" panose="020B0603020203050203" pitchFamily="34" charset="-78"/>
                <a:cs typeface="DIN Next LT Arabic Medium" panose="020B0603020203050203" pitchFamily="34" charset="-78"/>
              </a:rPr>
              <a:t>Enhancement of Primary care framework</a:t>
            </a:r>
            <a:endParaRPr lang="ar-SA" sz="3600" dirty="0">
              <a:latin typeface="DIN Next LT Arabic Medium" panose="020B0603020203050203" pitchFamily="34" charset="-78"/>
              <a:cs typeface="DIN Next LT Arabic Medium" panose="020B0603020203050203" pitchFamily="34" charset="-78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36AE757-3809-4B35-A27C-074B01E7AE3F}"/>
              </a:ext>
            </a:extLst>
          </p:cNvPr>
          <p:cNvSpPr txBox="1">
            <a:spLocks/>
          </p:cNvSpPr>
          <p:nvPr/>
        </p:nvSpPr>
        <p:spPr>
          <a:xfrm>
            <a:off x="11657710" y="5959885"/>
            <a:ext cx="428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Poppins Medium" panose="00000600000000000000" pitchFamily="2" charset="0"/>
                <a:ea typeface="+mn-ea"/>
                <a:cs typeface="Poppins Medium" panose="000006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AA98139-DA01-49B0-927E-FE0B7A59B93B}" type="slidenum">
              <a:rPr lang="en-US" sz="1300" smtClean="0">
                <a:gradFill>
                  <a:gsLst>
                    <a:gs pos="0">
                      <a:srgbClr val="31C9A2"/>
                    </a:gs>
                    <a:gs pos="100000">
                      <a:srgbClr val="2A94DD"/>
                    </a:gs>
                  </a:gsLst>
                  <a:lin ang="1080000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pPr/>
              <a:t>20</a:t>
            </a:fld>
            <a:endParaRPr lang="en-US" sz="1300" dirty="0">
              <a:gradFill>
                <a:gsLst>
                  <a:gs pos="0">
                    <a:srgbClr val="31C9A2"/>
                  </a:gs>
                  <a:gs pos="100000">
                    <a:srgbClr val="2A94DD"/>
                  </a:gs>
                </a:gsLst>
                <a:lin ang="10800000" scaled="1"/>
              </a:gra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351349-CF18-451C-A2E1-795BD866B786}"/>
              </a:ext>
            </a:extLst>
          </p:cNvPr>
          <p:cNvSpPr txBox="1"/>
          <p:nvPr/>
        </p:nvSpPr>
        <p:spPr>
          <a:xfrm rot="16200000">
            <a:off x="9539342" y="3244333"/>
            <a:ext cx="4571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rtl="1"/>
            <a:r>
              <a:rPr lang="en-US" b="1" dirty="0">
                <a:gradFill>
                  <a:gsLst>
                    <a:gs pos="21000">
                      <a:srgbClr val="31C9A2"/>
                    </a:gs>
                    <a:gs pos="100000">
                      <a:srgbClr val="2A94DD"/>
                    </a:gs>
                  </a:gsLst>
                  <a:lin ang="8100000" scaled="1"/>
                </a:gradFill>
                <a:latin typeface="DIN Next LT Arabic Light" panose="020B0303020203050203" pitchFamily="34" charset="-78"/>
                <a:cs typeface="DIN Next LT Arabic Light" panose="020B0303020203050203" pitchFamily="34" charset="-78"/>
              </a:rPr>
              <a:t>The future of primary care in Saudi Arabia</a:t>
            </a:r>
            <a:endParaRPr lang="ar-SA" b="1" dirty="0">
              <a:gradFill>
                <a:gsLst>
                  <a:gs pos="21000">
                    <a:srgbClr val="31C9A2"/>
                  </a:gs>
                  <a:gs pos="100000">
                    <a:srgbClr val="2A94DD"/>
                  </a:gs>
                </a:gsLst>
                <a:lin ang="8100000" scaled="1"/>
              </a:gradFill>
              <a:latin typeface="DIN Next LT Arabic Light" panose="020B0303020203050203" pitchFamily="34" charset="-78"/>
              <a:cs typeface="DIN Next LT Arabic Light" panose="020B0303020203050203" pitchFamily="34" charset="-7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F5A9BEB-70C0-5355-CF08-BCAA35C03114}"/>
              </a:ext>
            </a:extLst>
          </p:cNvPr>
          <p:cNvSpPr txBox="1"/>
          <p:nvPr/>
        </p:nvSpPr>
        <p:spPr>
          <a:xfrm>
            <a:off x="1676024" y="1800695"/>
            <a:ext cx="82634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 rtl="1"/>
            <a:endParaRPr lang="ar-SA" sz="1800" b="1" dirty="0">
              <a:gradFill flip="none" rotWithShape="1">
                <a:gsLst>
                  <a:gs pos="0">
                    <a:srgbClr val="32CF9C"/>
                  </a:gs>
                  <a:gs pos="100000">
                    <a:srgbClr val="2A94DD"/>
                  </a:gs>
                  <a:gs pos="56000">
                    <a:srgbClr val="2A94DD"/>
                  </a:gs>
                </a:gsLst>
                <a:lin ang="2700000" scaled="1"/>
                <a:tileRect/>
              </a:gradFill>
              <a:latin typeface="DIN Next LT Arabic" panose="020B0603020203050203" pitchFamily="34" charset="-78"/>
              <a:cs typeface="DIN Next LT Arabic" panose="020B0603020203050203" pitchFamily="34" charset="-78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1E833AA-5719-444A-B6F4-5AB26239A5CE}"/>
              </a:ext>
            </a:extLst>
          </p:cNvPr>
          <p:cNvGrpSpPr/>
          <p:nvPr/>
        </p:nvGrpSpPr>
        <p:grpSpPr>
          <a:xfrm>
            <a:off x="1" y="1333502"/>
            <a:ext cx="8737599" cy="5410199"/>
            <a:chOff x="1857665" y="2672917"/>
            <a:chExt cx="4125497" cy="3776793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2119CA6-AAAA-4B69-9FB5-0960E24FECD3}"/>
                </a:ext>
              </a:extLst>
            </p:cNvPr>
            <p:cNvSpPr/>
            <p:nvPr/>
          </p:nvSpPr>
          <p:spPr>
            <a:xfrm>
              <a:off x="3203848" y="5051506"/>
              <a:ext cx="2779314" cy="1398204"/>
            </a:xfrm>
            <a:prstGeom prst="rect">
              <a:avLst/>
            </a:prstGeom>
            <a:solidFill>
              <a:srgbClr val="048962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4. Population Health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1B3C5DC-0DE5-434B-8FC3-3D1DFB0F9213}"/>
                </a:ext>
              </a:extLst>
            </p:cNvPr>
            <p:cNvSpPr/>
            <p:nvPr/>
          </p:nvSpPr>
          <p:spPr>
            <a:xfrm>
              <a:off x="3203848" y="3628003"/>
              <a:ext cx="2779314" cy="1398204"/>
            </a:xfrm>
            <a:prstGeom prst="rect">
              <a:avLst/>
            </a:prstGeom>
            <a:solidFill>
              <a:srgbClr val="CDD773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3. Capabilitie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543ABBE-2FFB-4C80-98EB-E79A659AA243}"/>
                </a:ext>
              </a:extLst>
            </p:cNvPr>
            <p:cNvSpPr/>
            <p:nvPr/>
          </p:nvSpPr>
          <p:spPr>
            <a:xfrm>
              <a:off x="3655069" y="5052857"/>
              <a:ext cx="1836204" cy="894148"/>
            </a:xfrm>
            <a:prstGeom prst="rect">
              <a:avLst/>
            </a:prstGeom>
            <a:solidFill>
              <a:srgbClr val="92D050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2. Engagement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AB708F2-9E6C-41F5-BEDA-DD9D722C09C9}"/>
                </a:ext>
              </a:extLst>
            </p:cNvPr>
            <p:cNvSpPr/>
            <p:nvPr/>
          </p:nvSpPr>
          <p:spPr>
            <a:xfrm>
              <a:off x="3650431" y="4132059"/>
              <a:ext cx="1836204" cy="894148"/>
            </a:xfrm>
            <a:prstGeom prst="rect">
              <a:avLst/>
            </a:prstGeom>
            <a:solidFill>
              <a:srgbClr val="D5A111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1. Services 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AB0CB56-FA13-402D-B72E-28A78513290B}"/>
                </a:ext>
              </a:extLst>
            </p:cNvPr>
            <p:cNvSpPr/>
            <p:nvPr/>
          </p:nvSpPr>
          <p:spPr>
            <a:xfrm>
              <a:off x="4198746" y="4503215"/>
              <a:ext cx="767324" cy="1011502"/>
            </a:xfrm>
            <a:prstGeom prst="ellipse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0" tIns="73152" rIns="0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Peopl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6AED140-8B4B-4A9D-BEEC-CBB4FDFCB9C5}"/>
                </a:ext>
              </a:extLst>
            </p:cNvPr>
            <p:cNvSpPr/>
            <p:nvPr/>
          </p:nvSpPr>
          <p:spPr>
            <a:xfrm>
              <a:off x="3203848" y="3125298"/>
              <a:ext cx="2779314" cy="458405"/>
            </a:xfrm>
            <a:prstGeom prst="rect">
              <a:avLst/>
            </a:prstGeom>
            <a:solidFill>
              <a:srgbClr val="037196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5. Governance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9880484-505C-424A-B08D-4970C5B6E2EF}"/>
                </a:ext>
              </a:extLst>
            </p:cNvPr>
            <p:cNvSpPr/>
            <p:nvPr/>
          </p:nvSpPr>
          <p:spPr>
            <a:xfrm>
              <a:off x="3203848" y="2672917"/>
              <a:ext cx="1375158" cy="424673"/>
            </a:xfrm>
            <a:prstGeom prst="rect">
              <a:avLst/>
            </a:prstGeom>
            <a:solidFill>
              <a:srgbClr val="858274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6. Funding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8483891-62E9-4891-8FEC-ADD9629E76CE}"/>
                </a:ext>
              </a:extLst>
            </p:cNvPr>
            <p:cNvSpPr/>
            <p:nvPr/>
          </p:nvSpPr>
          <p:spPr>
            <a:xfrm>
              <a:off x="1857665" y="3137975"/>
              <a:ext cx="1909712" cy="2805114"/>
            </a:xfrm>
            <a:prstGeom prst="rect">
              <a:avLst/>
            </a:prstGeom>
            <a:solidFill>
              <a:srgbClr val="083C2D"/>
            </a:solidFill>
            <a:ln w="6350" cap="flat" cmpd="sng" algn="ctr">
              <a:noFill/>
              <a:prstDash val="solid"/>
              <a:miter lim="800000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7. Regulations</a:t>
              </a: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sz="1600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Revising the policies that hinder the empowerment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Regulating the private  sector to adopt family medicine based approach 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Revising the privileges of the PHC staff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Clinical guidelines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Professional licenses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Infrastructure standards</a:t>
              </a:r>
            </a:p>
            <a:p>
              <a:pPr marL="285750" marR="0" lvl="0" indent="-28575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Non clinical standard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450637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71320"/>
                <a:lumOff val="28680"/>
              </a:schemeClr>
            </a:gs>
            <a:gs pos="71000">
              <a:schemeClr val="bg1">
                <a:lumMod val="95000"/>
              </a:schemeClr>
            </a:gs>
            <a:gs pos="100000">
              <a:schemeClr val="bg1">
                <a:lumMod val="9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C14DAAA-858C-D7B5-9394-EB50F51674D4}"/>
              </a:ext>
            </a:extLst>
          </p:cNvPr>
          <p:cNvSpPr/>
          <p:nvPr/>
        </p:nvSpPr>
        <p:spPr>
          <a:xfrm>
            <a:off x="0" y="0"/>
            <a:ext cx="11535507" cy="1257300"/>
          </a:xfrm>
          <a:prstGeom prst="rect">
            <a:avLst/>
          </a:prstGeom>
          <a:gradFill flip="none" rotWithShape="1">
            <a:gsLst>
              <a:gs pos="79000">
                <a:srgbClr val="2B9ED2">
                  <a:alpha val="94000"/>
                </a:srgbClr>
              </a:gs>
              <a:gs pos="0">
                <a:srgbClr val="31C9A2">
                  <a:alpha val="68000"/>
                </a:srgbClr>
              </a:gs>
              <a:gs pos="100000">
                <a:srgbClr val="2A94D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r>
              <a:rPr lang="en-US" sz="3200" dirty="0">
                <a:latin typeface="DIN Next LT Arabic Medium" panose="020B0603020203050203" pitchFamily="34" charset="-78"/>
                <a:cs typeface="DIN Next LT Arabic Medium" panose="020B0603020203050203" pitchFamily="34" charset="-78"/>
              </a:rPr>
              <a:t>Guiding principles for improvement</a:t>
            </a:r>
            <a:endParaRPr lang="ar-SA" sz="3200" dirty="0">
              <a:latin typeface="DIN Next LT Arabic Medium" panose="020B0603020203050203" pitchFamily="34" charset="-78"/>
              <a:cs typeface="DIN Next LT Arabic Medium" panose="020B0603020203050203" pitchFamily="34" charset="-78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36AE757-3809-4B35-A27C-074B01E7AE3F}"/>
              </a:ext>
            </a:extLst>
          </p:cNvPr>
          <p:cNvSpPr txBox="1">
            <a:spLocks/>
          </p:cNvSpPr>
          <p:nvPr/>
        </p:nvSpPr>
        <p:spPr>
          <a:xfrm>
            <a:off x="11657710" y="5959885"/>
            <a:ext cx="428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Poppins Medium" panose="00000600000000000000" pitchFamily="2" charset="0"/>
                <a:ea typeface="+mn-ea"/>
                <a:cs typeface="Poppins Medium" panose="000006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AA98139-DA01-49B0-927E-FE0B7A59B93B}" type="slidenum">
              <a:rPr lang="en-US" sz="1300" smtClean="0">
                <a:gradFill>
                  <a:gsLst>
                    <a:gs pos="0">
                      <a:srgbClr val="31C9A2"/>
                    </a:gs>
                    <a:gs pos="100000">
                      <a:srgbClr val="2A94DD"/>
                    </a:gs>
                  </a:gsLst>
                  <a:lin ang="1080000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pPr/>
              <a:t>21</a:t>
            </a:fld>
            <a:endParaRPr lang="en-US" sz="1300" dirty="0">
              <a:gradFill>
                <a:gsLst>
                  <a:gs pos="0">
                    <a:srgbClr val="31C9A2"/>
                  </a:gs>
                  <a:gs pos="100000">
                    <a:srgbClr val="2A94DD"/>
                  </a:gs>
                </a:gsLst>
                <a:lin ang="10800000" scaled="1"/>
              </a:gra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351349-CF18-451C-A2E1-795BD866B786}"/>
              </a:ext>
            </a:extLst>
          </p:cNvPr>
          <p:cNvSpPr txBox="1"/>
          <p:nvPr/>
        </p:nvSpPr>
        <p:spPr>
          <a:xfrm rot="16200000">
            <a:off x="9565790" y="3244333"/>
            <a:ext cx="45181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rtl="1"/>
            <a:r>
              <a:rPr lang="en-US" b="1" dirty="0">
                <a:gradFill>
                  <a:gsLst>
                    <a:gs pos="21000">
                      <a:srgbClr val="31C9A2"/>
                    </a:gs>
                    <a:gs pos="100000">
                      <a:srgbClr val="2A94DD"/>
                    </a:gs>
                  </a:gsLst>
                  <a:lin ang="8100000" scaled="1"/>
                </a:gradFill>
                <a:latin typeface="DIN Next LT Arabic Light" panose="020B0303020203050203" pitchFamily="34" charset="-78"/>
                <a:cs typeface="DIN Next LT Arabic Light" panose="020B0303020203050203" pitchFamily="34" charset="-78"/>
              </a:rPr>
              <a:t>the future of primary care in Saudi Arabia</a:t>
            </a:r>
            <a:endParaRPr lang="ar-SA" b="1" dirty="0">
              <a:gradFill>
                <a:gsLst>
                  <a:gs pos="21000">
                    <a:srgbClr val="31C9A2"/>
                  </a:gs>
                  <a:gs pos="100000">
                    <a:srgbClr val="2A94DD"/>
                  </a:gs>
                </a:gsLst>
                <a:lin ang="8100000" scaled="1"/>
              </a:gradFill>
              <a:latin typeface="DIN Next LT Arabic Light" panose="020B0303020203050203" pitchFamily="34" charset="-78"/>
              <a:cs typeface="DIN Next LT Arabic Light" panose="020B0303020203050203" pitchFamily="34" charset="-78"/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953305089"/>
              </p:ext>
            </p:extLst>
          </p:nvPr>
        </p:nvGraphicFramePr>
        <p:xfrm>
          <a:off x="-312420" y="1475385"/>
          <a:ext cx="12391990" cy="66703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4701696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stone building with a blue sky&#10;&#10;Description automatically generated">
            <a:extLst>
              <a:ext uri="{FF2B5EF4-FFF2-40B4-BE49-F238E27FC236}">
                <a16:creationId xmlns:a16="http://schemas.microsoft.com/office/drawing/2014/main" id="{9108245F-C523-7FEC-E7AB-EF61C8849A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4925"/>
            <a:ext cx="12254730" cy="68230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4A0B84B-47BB-CCDC-55A0-329EA44CEE3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4359"/>
          <a:stretch/>
        </p:blipFill>
        <p:spPr>
          <a:xfrm>
            <a:off x="1121565" y="1130678"/>
            <a:ext cx="2641600" cy="257772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30036AE-74C9-1EC2-C2B2-A67ACA9E273C}"/>
              </a:ext>
            </a:extLst>
          </p:cNvPr>
          <p:cNvSpPr txBox="1"/>
          <p:nvPr/>
        </p:nvSpPr>
        <p:spPr>
          <a:xfrm>
            <a:off x="4650020" y="-257972"/>
            <a:ext cx="1445980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25900" dirty="0">
                <a:solidFill>
                  <a:schemeClr val="bg1">
                    <a:lumMod val="95000"/>
                  </a:schemeClr>
                </a:solidFill>
                <a:latin typeface="Raleway SemiBold" panose="020B0703030101060003" pitchFamily="34" charset="0"/>
                <a:cs typeface="Poppins SemiBold" panose="00000700000000000000" pitchFamily="2" charset="0"/>
              </a:rPr>
              <a:t>“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1FDF151-3D12-295E-EDFD-5E07D0EB0BE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63481" y="247650"/>
            <a:ext cx="1257300" cy="7620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D8B3B9F-A944-5FD0-28C5-FD47357F1B76}"/>
              </a:ext>
            </a:extLst>
          </p:cNvPr>
          <p:cNvSpPr txBox="1"/>
          <p:nvPr/>
        </p:nvSpPr>
        <p:spPr>
          <a:xfrm>
            <a:off x="1016000" y="3966372"/>
            <a:ext cx="25270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3200" b="1" dirty="0">
                <a:solidFill>
                  <a:schemeClr val="bg1"/>
                </a:solidFill>
                <a:latin typeface="Avenir Black" panose="02000503020000020003" pitchFamily="2" charset="0"/>
              </a:rPr>
              <a:t>920011909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50488" y="0"/>
            <a:ext cx="12305218" cy="725456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44880" y="29315"/>
            <a:ext cx="6944952" cy="611904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95616" y="1009650"/>
            <a:ext cx="6204455" cy="203132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DIN Next LT Arabic"/>
                <a:cs typeface="TheSans" panose="020B0503040302020203" pitchFamily="34" charset="-78"/>
              </a:rPr>
              <a:t>Complexity of enhancement of primary care</a:t>
            </a:r>
            <a:endParaRPr lang="en-US" sz="3600" dirty="0">
              <a:solidFill>
                <a:schemeClr val="bg1"/>
              </a:solidFill>
              <a:latin typeface="DIN Next LT Arabic"/>
            </a:endParaRPr>
          </a:p>
          <a:p>
            <a:endParaRPr lang="ar-SA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94467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71320"/>
                <a:lumOff val="28680"/>
              </a:schemeClr>
            </a:gs>
            <a:gs pos="71000">
              <a:schemeClr val="bg1">
                <a:lumMod val="95000"/>
              </a:schemeClr>
            </a:gs>
            <a:gs pos="100000">
              <a:schemeClr val="bg1">
                <a:lumMod val="9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C14DAAA-858C-D7B5-9394-EB50F51674D4}"/>
              </a:ext>
            </a:extLst>
          </p:cNvPr>
          <p:cNvSpPr/>
          <p:nvPr/>
        </p:nvSpPr>
        <p:spPr>
          <a:xfrm>
            <a:off x="0" y="0"/>
            <a:ext cx="11535507" cy="1257300"/>
          </a:xfrm>
          <a:prstGeom prst="rect">
            <a:avLst/>
          </a:prstGeom>
          <a:gradFill flip="none" rotWithShape="1">
            <a:gsLst>
              <a:gs pos="79000">
                <a:srgbClr val="2B9ED2">
                  <a:alpha val="94000"/>
                </a:srgbClr>
              </a:gs>
              <a:gs pos="0">
                <a:srgbClr val="31C9A2">
                  <a:alpha val="68000"/>
                </a:srgbClr>
              </a:gs>
              <a:gs pos="100000">
                <a:srgbClr val="2A94D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r>
              <a:rPr lang="en-US" sz="3200" dirty="0">
                <a:latin typeface="DIN Next LT Arabic Medium" panose="020B0603020203050203" pitchFamily="34" charset="-78"/>
                <a:cs typeface="DIN Next LT Arabic Medium" panose="020B0603020203050203" pitchFamily="34" charset="-78"/>
              </a:rPr>
              <a:t>Complexity of enhancement of primary care</a:t>
            </a:r>
            <a:endParaRPr lang="ar-SA" sz="3200" dirty="0">
              <a:latin typeface="DIN Next LT Arabic Medium" panose="020B0603020203050203" pitchFamily="34" charset="-78"/>
              <a:cs typeface="DIN Next LT Arabic Medium" panose="020B0603020203050203" pitchFamily="34" charset="-78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36AE757-3809-4B35-A27C-074B01E7AE3F}"/>
              </a:ext>
            </a:extLst>
          </p:cNvPr>
          <p:cNvSpPr txBox="1">
            <a:spLocks/>
          </p:cNvSpPr>
          <p:nvPr/>
        </p:nvSpPr>
        <p:spPr>
          <a:xfrm>
            <a:off x="11657710" y="5959885"/>
            <a:ext cx="428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Poppins Medium" panose="00000600000000000000" pitchFamily="2" charset="0"/>
                <a:ea typeface="+mn-ea"/>
                <a:cs typeface="Poppins Medium" panose="000006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AA98139-DA01-49B0-927E-FE0B7A59B93B}" type="slidenum">
              <a:rPr lang="en-US" sz="1300" smtClean="0">
                <a:gradFill>
                  <a:gsLst>
                    <a:gs pos="0">
                      <a:srgbClr val="31C9A2"/>
                    </a:gs>
                    <a:gs pos="100000">
                      <a:srgbClr val="2A94DD"/>
                    </a:gs>
                  </a:gsLst>
                  <a:lin ang="1080000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pPr/>
              <a:t>23</a:t>
            </a:fld>
            <a:endParaRPr lang="en-US" sz="1300" dirty="0">
              <a:gradFill>
                <a:gsLst>
                  <a:gs pos="0">
                    <a:srgbClr val="31C9A2"/>
                  </a:gs>
                  <a:gs pos="100000">
                    <a:srgbClr val="2A94DD"/>
                  </a:gs>
                </a:gsLst>
                <a:lin ang="10800000" scaled="1"/>
              </a:gra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351349-CF18-451C-A2E1-795BD866B786}"/>
              </a:ext>
            </a:extLst>
          </p:cNvPr>
          <p:cNvSpPr txBox="1"/>
          <p:nvPr/>
        </p:nvSpPr>
        <p:spPr>
          <a:xfrm rot="16200000">
            <a:off x="9565790" y="3244333"/>
            <a:ext cx="45181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rtl="1"/>
            <a:r>
              <a:rPr lang="en-US" b="1" dirty="0">
                <a:gradFill>
                  <a:gsLst>
                    <a:gs pos="21000">
                      <a:srgbClr val="31C9A2"/>
                    </a:gs>
                    <a:gs pos="100000">
                      <a:srgbClr val="2A94DD"/>
                    </a:gs>
                  </a:gsLst>
                  <a:lin ang="8100000" scaled="1"/>
                </a:gradFill>
                <a:latin typeface="DIN Next LT Arabic Light" panose="020B0303020203050203" pitchFamily="34" charset="-78"/>
                <a:cs typeface="DIN Next LT Arabic Light" panose="020B0303020203050203" pitchFamily="34" charset="-78"/>
              </a:rPr>
              <a:t>the future of primary care in Saudi Arabia</a:t>
            </a:r>
            <a:endParaRPr lang="ar-SA" b="1" dirty="0">
              <a:gradFill>
                <a:gsLst>
                  <a:gs pos="21000">
                    <a:srgbClr val="31C9A2"/>
                  </a:gs>
                  <a:gs pos="100000">
                    <a:srgbClr val="2A94DD"/>
                  </a:gs>
                </a:gsLst>
                <a:lin ang="8100000" scaled="1"/>
              </a:gradFill>
              <a:latin typeface="DIN Next LT Arabic Light" panose="020B0303020203050203" pitchFamily="34" charset="-78"/>
              <a:cs typeface="DIN Next LT Arabic Light" panose="020B0303020203050203" pitchFamily="34" charset="-78"/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748765976"/>
              </p:ext>
            </p:extLst>
          </p:nvPr>
        </p:nvGraphicFramePr>
        <p:xfrm>
          <a:off x="-774154" y="1475385"/>
          <a:ext cx="12853724" cy="81924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6214225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stone building with a blue sky&#10;&#10;Description automatically generated">
            <a:extLst>
              <a:ext uri="{FF2B5EF4-FFF2-40B4-BE49-F238E27FC236}">
                <a16:creationId xmlns:a16="http://schemas.microsoft.com/office/drawing/2014/main" id="{9108245F-C523-7FEC-E7AB-EF61C8849A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4925"/>
            <a:ext cx="12254730" cy="6823075"/>
          </a:xfrm>
          <a:prstGeom prst="rect">
            <a:avLst/>
          </a:prstGeom>
        </p:spPr>
      </p:pic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668C763E-D2E4-4EB8-95B4-6D72B23317FC}"/>
              </a:ext>
            </a:extLst>
          </p:cNvPr>
          <p:cNvSpPr/>
          <p:nvPr/>
        </p:nvSpPr>
        <p:spPr>
          <a:xfrm>
            <a:off x="0" y="0"/>
            <a:ext cx="6570133" cy="5727322"/>
          </a:xfrm>
          <a:custGeom>
            <a:avLst/>
            <a:gdLst>
              <a:gd name="connsiteX0" fmla="*/ 0 w 7526331"/>
              <a:gd name="connsiteY0" fmla="*/ 0 h 5727322"/>
              <a:gd name="connsiteX1" fmla="*/ 7522287 w 7526331"/>
              <a:gd name="connsiteY1" fmla="*/ 0 h 5727322"/>
              <a:gd name="connsiteX2" fmla="*/ 7526331 w 7526331"/>
              <a:gd name="connsiteY2" fmla="*/ 117692 h 5727322"/>
              <a:gd name="connsiteX3" fmla="*/ 7526331 w 7526331"/>
              <a:gd name="connsiteY3" fmla="*/ 3773338 h 5727322"/>
              <a:gd name="connsiteX4" fmla="*/ 5754635 w 7526331"/>
              <a:gd name="connsiteY4" fmla="*/ 5727322 h 5727322"/>
              <a:gd name="connsiteX5" fmla="*/ 0 w 7526331"/>
              <a:gd name="connsiteY5" fmla="*/ 5727322 h 572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526331" h="5727322">
                <a:moveTo>
                  <a:pt x="0" y="0"/>
                </a:moveTo>
                <a:lnTo>
                  <a:pt x="7522287" y="0"/>
                </a:lnTo>
                <a:lnTo>
                  <a:pt x="7526331" y="117692"/>
                </a:lnTo>
                <a:lnTo>
                  <a:pt x="7526331" y="3773338"/>
                </a:lnTo>
                <a:cubicBezTo>
                  <a:pt x="7526331" y="4852494"/>
                  <a:pt x="6733116" y="5727322"/>
                  <a:pt x="5754635" y="5727322"/>
                </a:cubicBezTo>
                <a:lnTo>
                  <a:pt x="0" y="5727322"/>
                </a:lnTo>
                <a:close/>
              </a:path>
            </a:pathLst>
          </a:custGeom>
          <a:gradFill flip="none" rotWithShape="1">
            <a:gsLst>
              <a:gs pos="70000">
                <a:srgbClr val="2B9ED2">
                  <a:alpha val="87000"/>
                </a:srgbClr>
              </a:gs>
              <a:gs pos="0">
                <a:srgbClr val="31C9A2">
                  <a:alpha val="96000"/>
                </a:srgbClr>
              </a:gs>
              <a:gs pos="100000">
                <a:srgbClr val="2A94D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1FDF151-3D12-295E-EDFD-5E07D0EB0BE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63481" y="247650"/>
            <a:ext cx="1257300" cy="762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56348" y="886351"/>
            <a:ext cx="5245178" cy="132343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lvl="0"/>
            <a:r>
              <a:rPr lang="en-US" sz="4000" b="1" dirty="0">
                <a:solidFill>
                  <a:prstClr val="white"/>
                </a:solidFill>
                <a:latin typeface="DIN Next LT Arabic"/>
                <a:cs typeface="Arial" panose="020B0604020202020204" pitchFamily="34" charset="0"/>
              </a:rPr>
              <a:t>The future drivers of  Primary Care</a:t>
            </a:r>
          </a:p>
        </p:txBody>
      </p:sp>
    </p:spTree>
    <p:extLst>
      <p:ext uri="{BB962C8B-B14F-4D97-AF65-F5344CB8AC3E}">
        <p14:creationId xmlns:p14="http://schemas.microsoft.com/office/powerpoint/2010/main" val="5885939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71320"/>
                <a:lumOff val="28680"/>
              </a:schemeClr>
            </a:gs>
            <a:gs pos="71000">
              <a:schemeClr val="bg1">
                <a:lumMod val="95000"/>
              </a:schemeClr>
            </a:gs>
            <a:gs pos="100000">
              <a:schemeClr val="bg1">
                <a:lumMod val="9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C14DAAA-858C-D7B5-9394-EB50F51674D4}"/>
              </a:ext>
            </a:extLst>
          </p:cNvPr>
          <p:cNvSpPr/>
          <p:nvPr/>
        </p:nvSpPr>
        <p:spPr>
          <a:xfrm>
            <a:off x="0" y="0"/>
            <a:ext cx="11535507" cy="1257300"/>
          </a:xfrm>
          <a:prstGeom prst="rect">
            <a:avLst/>
          </a:prstGeom>
          <a:gradFill flip="none" rotWithShape="1">
            <a:gsLst>
              <a:gs pos="79000">
                <a:srgbClr val="2B9ED2">
                  <a:alpha val="94000"/>
                </a:srgbClr>
              </a:gs>
              <a:gs pos="0">
                <a:srgbClr val="31C9A2">
                  <a:alpha val="68000"/>
                </a:srgbClr>
              </a:gs>
              <a:gs pos="100000">
                <a:srgbClr val="2A94D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r>
              <a:rPr lang="en-US" sz="3200" dirty="0">
                <a:latin typeface="DIN Next LT Arabic Medium" panose="020B0603020203050203" pitchFamily="34" charset="-78"/>
                <a:cs typeface="DIN Next LT Arabic Medium" panose="020B0603020203050203" pitchFamily="34" charset="-78"/>
              </a:rPr>
              <a:t>The future drivers of primary care in Saudi Arabia</a:t>
            </a:r>
            <a:endParaRPr lang="ar-SA" sz="3200" dirty="0">
              <a:latin typeface="DIN Next LT Arabic Medium" panose="020B0603020203050203" pitchFamily="34" charset="-78"/>
              <a:cs typeface="DIN Next LT Arabic Medium" panose="020B0603020203050203" pitchFamily="34" charset="-78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36AE757-3809-4B35-A27C-074B01E7AE3F}"/>
              </a:ext>
            </a:extLst>
          </p:cNvPr>
          <p:cNvSpPr txBox="1">
            <a:spLocks/>
          </p:cNvSpPr>
          <p:nvPr/>
        </p:nvSpPr>
        <p:spPr>
          <a:xfrm>
            <a:off x="11657710" y="5959885"/>
            <a:ext cx="428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Poppins Medium" panose="00000600000000000000" pitchFamily="2" charset="0"/>
                <a:ea typeface="+mn-ea"/>
                <a:cs typeface="Poppins Medium" panose="000006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AA98139-DA01-49B0-927E-FE0B7A59B93B}" type="slidenum">
              <a:rPr lang="en-US" sz="1300" smtClean="0">
                <a:gradFill>
                  <a:gsLst>
                    <a:gs pos="0">
                      <a:srgbClr val="31C9A2"/>
                    </a:gs>
                    <a:gs pos="100000">
                      <a:srgbClr val="2A94DD"/>
                    </a:gs>
                  </a:gsLst>
                  <a:lin ang="1080000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pPr/>
              <a:t>25</a:t>
            </a:fld>
            <a:endParaRPr lang="en-US" sz="1300" dirty="0">
              <a:gradFill>
                <a:gsLst>
                  <a:gs pos="0">
                    <a:srgbClr val="31C9A2"/>
                  </a:gs>
                  <a:gs pos="100000">
                    <a:srgbClr val="2A94DD"/>
                  </a:gs>
                </a:gsLst>
                <a:lin ang="10800000" scaled="1"/>
              </a:gra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351349-CF18-451C-A2E1-795BD866B786}"/>
              </a:ext>
            </a:extLst>
          </p:cNvPr>
          <p:cNvSpPr txBox="1"/>
          <p:nvPr/>
        </p:nvSpPr>
        <p:spPr>
          <a:xfrm rot="16200000">
            <a:off x="9565790" y="3244333"/>
            <a:ext cx="45181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rtl="1"/>
            <a:r>
              <a:rPr lang="en-US" b="1" dirty="0">
                <a:gradFill>
                  <a:gsLst>
                    <a:gs pos="21000">
                      <a:srgbClr val="31C9A2"/>
                    </a:gs>
                    <a:gs pos="100000">
                      <a:srgbClr val="2A94DD"/>
                    </a:gs>
                  </a:gsLst>
                  <a:lin ang="8100000" scaled="1"/>
                </a:gradFill>
                <a:latin typeface="DIN Next LT Arabic Light" panose="020B0303020203050203" pitchFamily="34" charset="-78"/>
                <a:cs typeface="DIN Next LT Arabic Light" panose="020B0303020203050203" pitchFamily="34" charset="-78"/>
              </a:rPr>
              <a:t>the future of primary care in Saudi Arabia</a:t>
            </a:r>
            <a:endParaRPr lang="ar-SA" b="1" dirty="0">
              <a:gradFill>
                <a:gsLst>
                  <a:gs pos="21000">
                    <a:srgbClr val="31C9A2"/>
                  </a:gs>
                  <a:gs pos="100000">
                    <a:srgbClr val="2A94DD"/>
                  </a:gs>
                </a:gsLst>
                <a:lin ang="8100000" scaled="1"/>
              </a:gradFill>
              <a:latin typeface="DIN Next LT Arabic Light" panose="020B0303020203050203" pitchFamily="34" charset="-78"/>
              <a:cs typeface="DIN Next LT Arabic Light" panose="020B0303020203050203" pitchFamily="34" charset="-78"/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2380871239"/>
              </p:ext>
            </p:extLst>
          </p:nvPr>
        </p:nvGraphicFramePr>
        <p:xfrm>
          <a:off x="-1085966" y="1488085"/>
          <a:ext cx="12853724" cy="81924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18311491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stone building with a blue sky&#10;&#10;Description automatically generated">
            <a:extLst>
              <a:ext uri="{FF2B5EF4-FFF2-40B4-BE49-F238E27FC236}">
                <a16:creationId xmlns:a16="http://schemas.microsoft.com/office/drawing/2014/main" id="{9108245F-C523-7FEC-E7AB-EF61C8849A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4925"/>
            <a:ext cx="12254730" cy="6823075"/>
          </a:xfrm>
          <a:prstGeom prst="rect">
            <a:avLst/>
          </a:prstGeom>
        </p:spPr>
      </p:pic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668C763E-D2E4-4EB8-95B4-6D72B23317FC}"/>
              </a:ext>
            </a:extLst>
          </p:cNvPr>
          <p:cNvSpPr/>
          <p:nvPr/>
        </p:nvSpPr>
        <p:spPr>
          <a:xfrm>
            <a:off x="0" y="0"/>
            <a:ext cx="6570133" cy="6065520"/>
          </a:xfrm>
          <a:custGeom>
            <a:avLst/>
            <a:gdLst>
              <a:gd name="connsiteX0" fmla="*/ 0 w 7526331"/>
              <a:gd name="connsiteY0" fmla="*/ 0 h 5727322"/>
              <a:gd name="connsiteX1" fmla="*/ 7522287 w 7526331"/>
              <a:gd name="connsiteY1" fmla="*/ 0 h 5727322"/>
              <a:gd name="connsiteX2" fmla="*/ 7526331 w 7526331"/>
              <a:gd name="connsiteY2" fmla="*/ 117692 h 5727322"/>
              <a:gd name="connsiteX3" fmla="*/ 7526331 w 7526331"/>
              <a:gd name="connsiteY3" fmla="*/ 3773338 h 5727322"/>
              <a:gd name="connsiteX4" fmla="*/ 5754635 w 7526331"/>
              <a:gd name="connsiteY4" fmla="*/ 5727322 h 5727322"/>
              <a:gd name="connsiteX5" fmla="*/ 0 w 7526331"/>
              <a:gd name="connsiteY5" fmla="*/ 5727322 h 572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526331" h="5727322">
                <a:moveTo>
                  <a:pt x="0" y="0"/>
                </a:moveTo>
                <a:lnTo>
                  <a:pt x="7522287" y="0"/>
                </a:lnTo>
                <a:lnTo>
                  <a:pt x="7526331" y="117692"/>
                </a:lnTo>
                <a:lnTo>
                  <a:pt x="7526331" y="3773338"/>
                </a:lnTo>
                <a:cubicBezTo>
                  <a:pt x="7526331" y="4852494"/>
                  <a:pt x="6733116" y="5727322"/>
                  <a:pt x="5754635" y="5727322"/>
                </a:cubicBezTo>
                <a:lnTo>
                  <a:pt x="0" y="5727322"/>
                </a:lnTo>
                <a:close/>
              </a:path>
            </a:pathLst>
          </a:custGeom>
          <a:gradFill flip="none" rotWithShape="1">
            <a:gsLst>
              <a:gs pos="70000">
                <a:srgbClr val="2B9ED2">
                  <a:alpha val="87000"/>
                </a:srgbClr>
              </a:gs>
              <a:gs pos="0">
                <a:srgbClr val="31C9A2">
                  <a:alpha val="96000"/>
                </a:srgbClr>
              </a:gs>
              <a:gs pos="100000">
                <a:srgbClr val="2A94D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4A0B84B-47BB-CCDC-55A0-329EA44CEE3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4359"/>
          <a:stretch/>
        </p:blipFill>
        <p:spPr>
          <a:xfrm>
            <a:off x="1121565" y="1130678"/>
            <a:ext cx="2641600" cy="257772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30036AE-74C9-1EC2-C2B2-A67ACA9E273C}"/>
              </a:ext>
            </a:extLst>
          </p:cNvPr>
          <p:cNvSpPr txBox="1"/>
          <p:nvPr/>
        </p:nvSpPr>
        <p:spPr>
          <a:xfrm>
            <a:off x="4650020" y="-257972"/>
            <a:ext cx="1445980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25900" dirty="0">
                <a:solidFill>
                  <a:schemeClr val="bg1">
                    <a:lumMod val="95000"/>
                  </a:schemeClr>
                </a:solidFill>
                <a:latin typeface="Raleway SemiBold" panose="020B0703030101060003" pitchFamily="34" charset="0"/>
                <a:cs typeface="Poppins SemiBold" panose="00000700000000000000" pitchFamily="2" charset="0"/>
              </a:rPr>
              <a:t>“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1FDF151-3D12-295E-EDFD-5E07D0EB0BE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63481" y="247650"/>
            <a:ext cx="1257300" cy="7620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D8B3B9F-A944-5FD0-28C5-FD47357F1B76}"/>
              </a:ext>
            </a:extLst>
          </p:cNvPr>
          <p:cNvSpPr txBox="1"/>
          <p:nvPr/>
        </p:nvSpPr>
        <p:spPr>
          <a:xfrm>
            <a:off x="1016000" y="3966372"/>
            <a:ext cx="25270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3200" b="1" dirty="0">
                <a:solidFill>
                  <a:schemeClr val="bg1"/>
                </a:solidFill>
                <a:latin typeface="Avenir Black" panose="02000503020000020003" pitchFamily="2" charset="0"/>
              </a:rPr>
              <a:t>920011909</a:t>
            </a:r>
          </a:p>
        </p:txBody>
      </p:sp>
    </p:spTree>
    <p:extLst>
      <p:ext uri="{BB962C8B-B14F-4D97-AF65-F5344CB8AC3E}">
        <p14:creationId xmlns:p14="http://schemas.microsoft.com/office/powerpoint/2010/main" val="26264091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stone building with a blue sky&#10;&#10;Description automatically generated">
            <a:extLst>
              <a:ext uri="{FF2B5EF4-FFF2-40B4-BE49-F238E27FC236}">
                <a16:creationId xmlns:a16="http://schemas.microsoft.com/office/drawing/2014/main" id="{9108245F-C523-7FEC-E7AB-EF61C8849A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4925"/>
            <a:ext cx="12254730" cy="68230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4A0B84B-47BB-CCDC-55A0-329EA44CEE3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4359"/>
          <a:stretch/>
        </p:blipFill>
        <p:spPr>
          <a:xfrm>
            <a:off x="1121565" y="1130678"/>
            <a:ext cx="2641600" cy="257772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30036AE-74C9-1EC2-C2B2-A67ACA9E273C}"/>
              </a:ext>
            </a:extLst>
          </p:cNvPr>
          <p:cNvSpPr txBox="1"/>
          <p:nvPr/>
        </p:nvSpPr>
        <p:spPr>
          <a:xfrm>
            <a:off x="4650020" y="-257972"/>
            <a:ext cx="1445980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25900" dirty="0">
                <a:solidFill>
                  <a:schemeClr val="bg1">
                    <a:lumMod val="95000"/>
                  </a:schemeClr>
                </a:solidFill>
                <a:latin typeface="Raleway SemiBold" panose="020B0703030101060003" pitchFamily="34" charset="0"/>
                <a:cs typeface="Poppins SemiBold" panose="00000700000000000000" pitchFamily="2" charset="0"/>
              </a:rPr>
              <a:t>“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1FDF151-3D12-295E-EDFD-5E07D0EB0BE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63481" y="247650"/>
            <a:ext cx="1257300" cy="7620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D8B3B9F-A944-5FD0-28C5-FD47357F1B76}"/>
              </a:ext>
            </a:extLst>
          </p:cNvPr>
          <p:cNvSpPr txBox="1"/>
          <p:nvPr/>
        </p:nvSpPr>
        <p:spPr>
          <a:xfrm>
            <a:off x="1016000" y="3966372"/>
            <a:ext cx="25270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3200" b="1" dirty="0">
                <a:solidFill>
                  <a:schemeClr val="bg1"/>
                </a:solidFill>
                <a:latin typeface="Avenir Black" panose="02000503020000020003" pitchFamily="2" charset="0"/>
              </a:rPr>
              <a:t>920011909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41522" y="33190"/>
            <a:ext cx="6799102" cy="679910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-38100"/>
            <a:ext cx="12254730" cy="7493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-63808"/>
            <a:ext cx="6943946" cy="68961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09601" y="1670050"/>
            <a:ext cx="6251204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DIN Next LT Arabic"/>
              </a:rPr>
              <a:t>Historical background</a:t>
            </a:r>
            <a:endParaRPr lang="ar-SA" sz="4000" b="1" dirty="0">
              <a:solidFill>
                <a:schemeClr val="bg1"/>
              </a:solidFill>
              <a:latin typeface="DIN Next LT Arabic"/>
            </a:endParaRPr>
          </a:p>
        </p:txBody>
      </p:sp>
    </p:spTree>
    <p:extLst>
      <p:ext uri="{BB962C8B-B14F-4D97-AF65-F5344CB8AC3E}">
        <p14:creationId xmlns:p14="http://schemas.microsoft.com/office/powerpoint/2010/main" val="2655880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71320"/>
                <a:lumOff val="28680"/>
              </a:schemeClr>
            </a:gs>
            <a:gs pos="71000">
              <a:schemeClr val="bg1">
                <a:lumMod val="95000"/>
              </a:schemeClr>
            </a:gs>
            <a:gs pos="100000">
              <a:schemeClr val="bg1">
                <a:lumMod val="9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C14DAAA-858C-D7B5-9394-EB50F51674D4}"/>
              </a:ext>
            </a:extLst>
          </p:cNvPr>
          <p:cNvSpPr/>
          <p:nvPr/>
        </p:nvSpPr>
        <p:spPr>
          <a:xfrm>
            <a:off x="0" y="0"/>
            <a:ext cx="11535507" cy="1257300"/>
          </a:xfrm>
          <a:prstGeom prst="rect">
            <a:avLst/>
          </a:prstGeom>
          <a:gradFill flip="none" rotWithShape="1">
            <a:gsLst>
              <a:gs pos="79000">
                <a:srgbClr val="2B9ED2">
                  <a:alpha val="94000"/>
                </a:srgbClr>
              </a:gs>
              <a:gs pos="0">
                <a:srgbClr val="31C9A2">
                  <a:alpha val="68000"/>
                </a:srgbClr>
              </a:gs>
              <a:gs pos="100000">
                <a:srgbClr val="2A94D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r>
              <a:rPr lang="en-US" sz="3200" dirty="0">
                <a:latin typeface="DIN Next LT Arabic Medium" panose="020B0603020203050203" pitchFamily="34" charset="-78"/>
                <a:cs typeface="DIN Next LT Arabic Medium" panose="020B0603020203050203" pitchFamily="34" charset="-78"/>
              </a:rPr>
              <a:t>Alma’ Ata Declaration</a:t>
            </a:r>
            <a:endParaRPr lang="ar-SA" sz="3200" dirty="0">
              <a:latin typeface="DIN Next LT Arabic Medium" panose="020B0603020203050203" pitchFamily="34" charset="-78"/>
              <a:cs typeface="DIN Next LT Arabic Medium" panose="020B0603020203050203" pitchFamily="34" charset="-78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36AE757-3809-4B35-A27C-074B01E7AE3F}"/>
              </a:ext>
            </a:extLst>
          </p:cNvPr>
          <p:cNvSpPr txBox="1">
            <a:spLocks/>
          </p:cNvSpPr>
          <p:nvPr/>
        </p:nvSpPr>
        <p:spPr>
          <a:xfrm>
            <a:off x="11657710" y="5959885"/>
            <a:ext cx="428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Poppins Medium" panose="00000600000000000000" pitchFamily="2" charset="0"/>
                <a:ea typeface="+mn-ea"/>
                <a:cs typeface="Poppins Medium" panose="000006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00">
                <a:gradFill>
                  <a:gsLst>
                    <a:gs pos="0">
                      <a:srgbClr val="31C9A2"/>
                    </a:gs>
                    <a:gs pos="100000">
                      <a:srgbClr val="2A94DD"/>
                    </a:gs>
                  </a:gsLst>
                  <a:lin ang="1080000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t>0</a:t>
            </a:r>
            <a:fld id="{4AA98139-DA01-49B0-927E-FE0B7A59B93B}" type="slidenum">
              <a:rPr lang="en-US" sz="1300" smtClean="0">
                <a:gradFill>
                  <a:gsLst>
                    <a:gs pos="0">
                      <a:srgbClr val="31C9A2"/>
                    </a:gs>
                    <a:gs pos="100000">
                      <a:srgbClr val="2A94DD"/>
                    </a:gs>
                  </a:gsLst>
                  <a:lin ang="1080000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pPr/>
              <a:t>4</a:t>
            </a:fld>
            <a:endParaRPr lang="en-US" sz="1300">
              <a:gradFill>
                <a:gsLst>
                  <a:gs pos="0">
                    <a:srgbClr val="31C9A2"/>
                  </a:gs>
                  <a:gs pos="100000">
                    <a:srgbClr val="2A94DD"/>
                  </a:gs>
                </a:gsLst>
                <a:lin ang="10800000" scaled="1"/>
              </a:gra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351349-CF18-451C-A2E1-795BD866B786}"/>
              </a:ext>
            </a:extLst>
          </p:cNvPr>
          <p:cNvSpPr txBox="1"/>
          <p:nvPr/>
        </p:nvSpPr>
        <p:spPr>
          <a:xfrm rot="16200000">
            <a:off x="9539332" y="3244333"/>
            <a:ext cx="4571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 rtl="1"/>
            <a:r>
              <a:rPr lang="en-US" b="1" dirty="0">
                <a:gradFill>
                  <a:gsLst>
                    <a:gs pos="21000">
                      <a:srgbClr val="31C9A2"/>
                    </a:gs>
                    <a:gs pos="100000">
                      <a:srgbClr val="2A94DD"/>
                    </a:gs>
                  </a:gsLst>
                  <a:lin ang="8100000" scaled="1"/>
                </a:gradFill>
                <a:latin typeface="DIN Next LT Arabic Light" panose="020B0303020203050203" pitchFamily="34" charset="-78"/>
                <a:cs typeface="DIN Next LT Arabic Light" panose="020B0303020203050203" pitchFamily="34" charset="-78"/>
              </a:rPr>
              <a:t>The future of primary care in Saudi Arabia</a:t>
            </a:r>
            <a:endParaRPr lang="ar-SA" b="1" dirty="0">
              <a:gradFill>
                <a:gsLst>
                  <a:gs pos="21000">
                    <a:srgbClr val="31C9A2"/>
                  </a:gs>
                  <a:gs pos="100000">
                    <a:srgbClr val="2A94DD"/>
                  </a:gs>
                </a:gsLst>
                <a:lin ang="8100000" scaled="1"/>
              </a:gradFill>
              <a:latin typeface="DIN Next LT Arabic Light" panose="020B0303020203050203" pitchFamily="34" charset="-78"/>
              <a:cs typeface="DIN Next LT Arabic Light" panose="020B0303020203050203" pitchFamily="34" charset="-78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1485D9D-4360-0C8D-EB63-2D79A537DE0D}"/>
              </a:ext>
            </a:extLst>
          </p:cNvPr>
          <p:cNvGrpSpPr/>
          <p:nvPr/>
        </p:nvGrpSpPr>
        <p:grpSpPr>
          <a:xfrm flipH="1">
            <a:off x="487162" y="1549400"/>
            <a:ext cx="9993442" cy="4036505"/>
            <a:chOff x="1564555" y="2113071"/>
            <a:chExt cx="8684787" cy="3670722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7CE5EF43-DCAB-7923-78CA-006B44E90B4C}"/>
                </a:ext>
              </a:extLst>
            </p:cNvPr>
            <p:cNvSpPr txBox="1"/>
            <p:nvPr/>
          </p:nvSpPr>
          <p:spPr>
            <a:xfrm>
              <a:off x="5941640" y="2204912"/>
              <a:ext cx="3205163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Low" rtl="1"/>
              <a:endParaRPr lang="en-US" sz="1600" b="1" dirty="0">
                <a:solidFill>
                  <a:srgbClr val="6D7885"/>
                </a:solidFill>
                <a:latin typeface="DIN Next LT Arabic" panose="020B0603020203050203" pitchFamily="34" charset="-78"/>
                <a:cs typeface="DIN Next LT Arabic" panose="020B0603020203050203" pitchFamily="34" charset="-78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8E35420F-FBA9-FBFE-CAA0-2404002B843E}"/>
                </a:ext>
              </a:extLst>
            </p:cNvPr>
            <p:cNvSpPr txBox="1"/>
            <p:nvPr/>
          </p:nvSpPr>
          <p:spPr>
            <a:xfrm>
              <a:off x="5941638" y="3018092"/>
              <a:ext cx="3205163" cy="3078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Low" rtl="1"/>
              <a:endParaRPr lang="ar-SA" sz="1600" b="1" dirty="0">
                <a:solidFill>
                  <a:srgbClr val="AB378A"/>
                </a:solidFill>
                <a:latin typeface="DIN Next LT Arabic" panose="020B0603020203050203" pitchFamily="34" charset="-78"/>
                <a:cs typeface="DIN Next LT Arabic" panose="020B0603020203050203" pitchFamily="34" charset="-78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8843652-6FFB-084C-B48B-B4AE1A811A70}"/>
                </a:ext>
              </a:extLst>
            </p:cNvPr>
            <p:cNvSpPr txBox="1"/>
            <p:nvPr/>
          </p:nvSpPr>
          <p:spPr>
            <a:xfrm>
              <a:off x="5941637" y="3923847"/>
              <a:ext cx="3205163" cy="3078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Low" rtl="1"/>
              <a:endParaRPr lang="ar-SA" sz="1600" b="1" dirty="0">
                <a:solidFill>
                  <a:srgbClr val="7030A0"/>
                </a:solidFill>
                <a:latin typeface="DIN Next LT Arabic" panose="020B0603020203050203" pitchFamily="34" charset="-78"/>
                <a:cs typeface="DIN Next LT Arabic" panose="020B0603020203050203" pitchFamily="34" charset="-78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B894402-F582-29FA-98B1-C15FFEB834A7}"/>
                </a:ext>
              </a:extLst>
            </p:cNvPr>
            <p:cNvSpPr txBox="1"/>
            <p:nvPr/>
          </p:nvSpPr>
          <p:spPr>
            <a:xfrm>
              <a:off x="1644511" y="2165723"/>
              <a:ext cx="320516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Low" rtl="1"/>
              <a:endParaRPr lang="ar-SA" sz="1400" b="1" dirty="0">
                <a:solidFill>
                  <a:srgbClr val="6D7885"/>
                </a:solidFill>
                <a:latin typeface="DIN Next LT Arabic" panose="020B0603020203050203" pitchFamily="34" charset="-78"/>
                <a:cs typeface="DIN Next LT Arabic" panose="020B0603020203050203" pitchFamily="34" charset="-78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200A7D7-4880-0A68-ECAB-CE3A9F5BCB8B}"/>
                </a:ext>
              </a:extLst>
            </p:cNvPr>
            <p:cNvSpPr txBox="1"/>
            <p:nvPr/>
          </p:nvSpPr>
          <p:spPr>
            <a:xfrm>
              <a:off x="1644511" y="3040952"/>
              <a:ext cx="3205163" cy="3078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Low" rtl="1"/>
              <a:endParaRPr lang="ar-SA" sz="1600" b="1" dirty="0">
                <a:solidFill>
                  <a:srgbClr val="AB378A"/>
                </a:solidFill>
                <a:latin typeface="DIN Next LT Arabic" panose="020B0603020203050203" pitchFamily="34" charset="-78"/>
                <a:cs typeface="DIN Next LT Arabic" panose="020B0603020203050203" pitchFamily="34" charset="-78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1C8580F-44FD-9C49-0C9E-4979BDDD7D75}"/>
                </a:ext>
              </a:extLst>
            </p:cNvPr>
            <p:cNvSpPr txBox="1"/>
            <p:nvPr/>
          </p:nvSpPr>
          <p:spPr>
            <a:xfrm>
              <a:off x="1644511" y="3902076"/>
              <a:ext cx="3205163" cy="3078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Low" rtl="1"/>
              <a:endParaRPr lang="ar-SA" sz="1600" b="1" dirty="0">
                <a:solidFill>
                  <a:srgbClr val="7030A0"/>
                </a:solidFill>
                <a:latin typeface="DIN Next LT Arabic" panose="020B0603020203050203" pitchFamily="34" charset="-78"/>
                <a:cs typeface="DIN Next LT Arabic" panose="020B0603020203050203" pitchFamily="34" charset="-78"/>
              </a:endParaRPr>
            </a:p>
          </p:txBody>
        </p:sp>
        <p:cxnSp>
          <p:nvCxnSpPr>
            <p:cNvPr id="18" name="رابط مستقيم 17">
              <a:extLst>
                <a:ext uri="{FF2B5EF4-FFF2-40B4-BE49-F238E27FC236}">
                  <a16:creationId xmlns:a16="http://schemas.microsoft.com/office/drawing/2014/main" id="{163C209F-80E6-011E-531E-AA0B7A3C1684}"/>
                </a:ext>
              </a:extLst>
            </p:cNvPr>
            <p:cNvCxnSpPr>
              <a:cxnSpLocks/>
            </p:cNvCxnSpPr>
            <p:nvPr/>
          </p:nvCxnSpPr>
          <p:spPr>
            <a:xfrm>
              <a:off x="1564555" y="3257097"/>
              <a:ext cx="7380196" cy="1982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رابط مستقيم 17">
              <a:extLst>
                <a:ext uri="{FF2B5EF4-FFF2-40B4-BE49-F238E27FC236}">
                  <a16:creationId xmlns:a16="http://schemas.microsoft.com/office/drawing/2014/main" id="{74493F80-6F33-168A-0134-4D41E50A293C}"/>
                </a:ext>
              </a:extLst>
            </p:cNvPr>
            <p:cNvCxnSpPr>
              <a:cxnSpLocks/>
            </p:cNvCxnSpPr>
            <p:nvPr/>
          </p:nvCxnSpPr>
          <p:spPr>
            <a:xfrm>
              <a:off x="1644511" y="4694795"/>
              <a:ext cx="730024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DD5A259-B8A6-4E19-87A2-DC3005E682D9}"/>
                </a:ext>
              </a:extLst>
            </p:cNvPr>
            <p:cNvSpPr txBox="1"/>
            <p:nvPr/>
          </p:nvSpPr>
          <p:spPr>
            <a:xfrm>
              <a:off x="9081873" y="2113071"/>
              <a:ext cx="1055546" cy="686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4800" b="1" dirty="0">
                  <a:solidFill>
                    <a:schemeClr val="bg2"/>
                  </a:solidFill>
                  <a:latin typeface="DIN Next LT Arabic" panose="020B0603020203050203" pitchFamily="34" charset="-78"/>
                  <a:cs typeface="DIN Next LT Arabic" panose="020B0603020203050203" pitchFamily="34" charset="-78"/>
                </a:rPr>
                <a:t>01</a:t>
              </a:r>
              <a:endParaRPr lang="x-none" sz="4800" dirty="0">
                <a:solidFill>
                  <a:schemeClr val="bg2"/>
                </a:solidFill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969B0B31-C0F7-08C4-0DE3-FB6549F16B9A}"/>
                </a:ext>
              </a:extLst>
            </p:cNvPr>
            <p:cNvSpPr txBox="1"/>
            <p:nvPr/>
          </p:nvSpPr>
          <p:spPr>
            <a:xfrm>
              <a:off x="9193796" y="3545162"/>
              <a:ext cx="1055546" cy="686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4800" b="1" dirty="0">
                  <a:solidFill>
                    <a:schemeClr val="bg2"/>
                  </a:solidFill>
                  <a:latin typeface="DIN Next LT Arabic" panose="020B0603020203050203" pitchFamily="34" charset="-78"/>
                  <a:cs typeface="DIN Next LT Arabic" panose="020B0603020203050203" pitchFamily="34" charset="-78"/>
                </a:rPr>
                <a:t>03</a:t>
              </a:r>
              <a:endParaRPr lang="x-none" sz="4800" dirty="0">
                <a:solidFill>
                  <a:schemeClr val="bg2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A6422E8-5D3E-C6EA-A218-E13A0DAEA11B}"/>
                </a:ext>
              </a:extLst>
            </p:cNvPr>
            <p:cNvSpPr txBox="1"/>
            <p:nvPr/>
          </p:nvSpPr>
          <p:spPr>
            <a:xfrm>
              <a:off x="9081873" y="3840272"/>
              <a:ext cx="1055546" cy="75569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endParaRPr lang="x-none" sz="4800" dirty="0">
                <a:solidFill>
                  <a:schemeClr val="bg2"/>
                </a:solidFill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2E293CB-9076-40CB-FED4-02C23377401C}"/>
                </a:ext>
              </a:extLst>
            </p:cNvPr>
            <p:cNvSpPr txBox="1"/>
            <p:nvPr/>
          </p:nvSpPr>
          <p:spPr>
            <a:xfrm>
              <a:off x="4792098" y="2113071"/>
              <a:ext cx="1055546" cy="686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4800" b="1" dirty="0">
                  <a:solidFill>
                    <a:schemeClr val="bg2"/>
                  </a:solidFill>
                  <a:latin typeface="DIN Next LT Arabic" panose="020B0603020203050203" pitchFamily="34" charset="-78"/>
                  <a:cs typeface="DIN Next LT Arabic" panose="020B0603020203050203" pitchFamily="34" charset="-78"/>
                </a:rPr>
                <a:t>02</a:t>
              </a:r>
              <a:endParaRPr lang="x-none" sz="4800" dirty="0">
                <a:solidFill>
                  <a:schemeClr val="bg2"/>
                </a:solidFill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16EB8392-F5FD-4797-D3CB-17666086C972}"/>
                </a:ext>
              </a:extLst>
            </p:cNvPr>
            <p:cNvSpPr txBox="1"/>
            <p:nvPr/>
          </p:nvSpPr>
          <p:spPr>
            <a:xfrm>
              <a:off x="4848663" y="3546000"/>
              <a:ext cx="1068513" cy="75569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4800" b="1" dirty="0">
                  <a:solidFill>
                    <a:schemeClr val="bg2"/>
                  </a:solidFill>
                  <a:latin typeface="DIN Next LT Arabic" panose="020B0603020203050203" pitchFamily="34" charset="-78"/>
                  <a:cs typeface="DIN Next LT Arabic" panose="020B0603020203050203" pitchFamily="34" charset="-78"/>
                </a:rPr>
                <a:t>04</a:t>
              </a:r>
              <a:endParaRPr lang="x-none" sz="4800" dirty="0">
                <a:solidFill>
                  <a:schemeClr val="bg2"/>
                </a:solidFill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6E6CE4C-DA37-7208-E5C7-02F06C45CF34}"/>
                </a:ext>
              </a:extLst>
            </p:cNvPr>
            <p:cNvSpPr txBox="1"/>
            <p:nvPr/>
          </p:nvSpPr>
          <p:spPr>
            <a:xfrm>
              <a:off x="4792098" y="3840272"/>
              <a:ext cx="1055546" cy="75569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endParaRPr lang="x-none" sz="4800" dirty="0">
                <a:solidFill>
                  <a:schemeClr val="bg2"/>
                </a:solidFill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00E2B39B-1FCE-DCDF-60DF-F001F1D349E9}"/>
                </a:ext>
              </a:extLst>
            </p:cNvPr>
            <p:cNvSpPr txBox="1"/>
            <p:nvPr/>
          </p:nvSpPr>
          <p:spPr>
            <a:xfrm>
              <a:off x="6913940" y="5028100"/>
              <a:ext cx="1055546" cy="75569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4800" b="1" dirty="0">
                  <a:solidFill>
                    <a:schemeClr val="bg2"/>
                  </a:solidFill>
                  <a:latin typeface="DIN Next LT Arabic" panose="020B0603020203050203" pitchFamily="34" charset="-78"/>
                  <a:cs typeface="DIN Next LT Arabic" panose="020B0603020203050203" pitchFamily="34" charset="-78"/>
                </a:rPr>
                <a:t>05</a:t>
              </a:r>
              <a:endParaRPr lang="x-none" sz="4800" dirty="0">
                <a:solidFill>
                  <a:schemeClr val="bg2"/>
                </a:solidFill>
              </a:endParaRPr>
            </a:p>
          </p:txBody>
        </p:sp>
      </p:grpSp>
      <p:sp>
        <p:nvSpPr>
          <p:cNvPr id="2" name="Rectangle 1"/>
          <p:cNvSpPr/>
          <p:nvPr/>
        </p:nvSpPr>
        <p:spPr>
          <a:xfrm>
            <a:off x="1422255" y="1500544"/>
            <a:ext cx="3860945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3A5B8"/>
                </a:solidFill>
              </a:rPr>
              <a:t>The Conference strongly reaffirms that health is a </a:t>
            </a:r>
            <a:r>
              <a:rPr lang="en-US" sz="2000" b="1" dirty="0">
                <a:solidFill>
                  <a:srgbClr val="03A5B8"/>
                </a:solidFill>
              </a:rPr>
              <a:t>fundamental human right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423086" y="1569805"/>
            <a:ext cx="517094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3A5B8"/>
                </a:solidFill>
              </a:rPr>
              <a:t>The existing gross </a:t>
            </a:r>
            <a:r>
              <a:rPr lang="en-US" sz="2000" b="1" dirty="0">
                <a:solidFill>
                  <a:srgbClr val="03A5B8"/>
                </a:solidFill>
              </a:rPr>
              <a:t>inequality</a:t>
            </a:r>
            <a:r>
              <a:rPr lang="en-US" dirty="0">
                <a:solidFill>
                  <a:srgbClr val="03A5B8"/>
                </a:solidFill>
              </a:rPr>
              <a:t> in the health status of the people is politically, socially, and economically </a:t>
            </a:r>
            <a:r>
              <a:rPr lang="en-US" b="1" dirty="0">
                <a:solidFill>
                  <a:srgbClr val="03A5B8"/>
                </a:solidFill>
              </a:rPr>
              <a:t>unacceptable</a:t>
            </a:r>
            <a:r>
              <a:rPr lang="en-US" dirty="0">
                <a:solidFill>
                  <a:srgbClr val="03A5B8"/>
                </a:solidFill>
              </a:rPr>
              <a:t>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455617" y="3085789"/>
            <a:ext cx="3930796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3A5B8"/>
                </a:solidFill>
              </a:rPr>
              <a:t>The people have a </a:t>
            </a:r>
            <a:r>
              <a:rPr lang="en-US" sz="2000" b="1" dirty="0">
                <a:solidFill>
                  <a:srgbClr val="03A5B8"/>
                </a:solidFill>
              </a:rPr>
              <a:t>right and duty </a:t>
            </a:r>
            <a:r>
              <a:rPr lang="en-US" dirty="0">
                <a:solidFill>
                  <a:srgbClr val="03A5B8"/>
                </a:solidFill>
              </a:rPr>
              <a:t>to participate individually and collectively in the </a:t>
            </a:r>
            <a:r>
              <a:rPr lang="en-US" sz="2000" b="1" dirty="0">
                <a:solidFill>
                  <a:srgbClr val="03A5B8"/>
                </a:solidFill>
              </a:rPr>
              <a:t>planning and implementation </a:t>
            </a:r>
            <a:r>
              <a:rPr lang="en-US" dirty="0">
                <a:solidFill>
                  <a:srgbClr val="03A5B8"/>
                </a:solidFill>
              </a:rPr>
              <a:t>of their health care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354868" y="3136226"/>
            <a:ext cx="495448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3A5B8"/>
                </a:solidFill>
              </a:rPr>
              <a:t>Primary health care is </a:t>
            </a:r>
            <a:r>
              <a:rPr lang="en-US" sz="2000" b="1" dirty="0">
                <a:solidFill>
                  <a:srgbClr val="03A5B8"/>
                </a:solidFill>
              </a:rPr>
              <a:t>essential health care </a:t>
            </a:r>
            <a:r>
              <a:rPr lang="en-US" dirty="0">
                <a:solidFill>
                  <a:srgbClr val="03A5B8"/>
                </a:solidFill>
              </a:rPr>
              <a:t>based on practical, scientifically sound, and socially acceptable methods and technology.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962400" y="4826718"/>
            <a:ext cx="52070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3A5B8"/>
                </a:solidFill>
              </a:rPr>
              <a:t>An acceptable level of health for all the people of the world by the year 2000 can be attained through a </a:t>
            </a:r>
            <a:r>
              <a:rPr lang="en-US" sz="2000" b="1" dirty="0">
                <a:solidFill>
                  <a:srgbClr val="03A5B8"/>
                </a:solidFill>
              </a:rPr>
              <a:t>better use of the world's resources</a:t>
            </a:r>
            <a:r>
              <a:rPr lang="en-US" dirty="0">
                <a:solidFill>
                  <a:srgbClr val="03A5B8"/>
                </a:solidFill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5088000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71320"/>
                <a:lumOff val="28680"/>
              </a:schemeClr>
            </a:gs>
            <a:gs pos="71000">
              <a:schemeClr val="bg1">
                <a:lumMod val="95000"/>
              </a:schemeClr>
            </a:gs>
            <a:gs pos="100000">
              <a:schemeClr val="bg1">
                <a:lumMod val="9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C14DAAA-858C-D7B5-9394-EB50F51674D4}"/>
              </a:ext>
            </a:extLst>
          </p:cNvPr>
          <p:cNvSpPr/>
          <p:nvPr/>
        </p:nvSpPr>
        <p:spPr>
          <a:xfrm>
            <a:off x="0" y="0"/>
            <a:ext cx="11535507" cy="1257300"/>
          </a:xfrm>
          <a:prstGeom prst="rect">
            <a:avLst/>
          </a:prstGeom>
          <a:gradFill flip="none" rotWithShape="1">
            <a:gsLst>
              <a:gs pos="79000">
                <a:srgbClr val="2B9ED2">
                  <a:alpha val="94000"/>
                </a:srgbClr>
              </a:gs>
              <a:gs pos="0">
                <a:srgbClr val="31C9A2">
                  <a:alpha val="68000"/>
                </a:srgbClr>
              </a:gs>
              <a:gs pos="100000">
                <a:srgbClr val="2A94D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r>
              <a:rPr lang="en-US" sz="3200" dirty="0">
                <a:latin typeface="DIN Next LT Arabic Medium" panose="020B0603020203050203" pitchFamily="34" charset="-78"/>
                <a:cs typeface="DIN Next LT Arabic Medium" panose="020B0603020203050203" pitchFamily="34" charset="-78"/>
              </a:rPr>
              <a:t>The beginning of the newly structured primary care services</a:t>
            </a:r>
            <a:endParaRPr lang="ar-SA" sz="3200" dirty="0">
              <a:latin typeface="DIN Next LT Arabic Medium" panose="020B0603020203050203" pitchFamily="34" charset="-78"/>
              <a:cs typeface="DIN Next LT Arabic Medium" panose="020B0603020203050203" pitchFamily="34" charset="-78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36AE757-3809-4B35-A27C-074B01E7AE3F}"/>
              </a:ext>
            </a:extLst>
          </p:cNvPr>
          <p:cNvSpPr txBox="1">
            <a:spLocks/>
          </p:cNvSpPr>
          <p:nvPr/>
        </p:nvSpPr>
        <p:spPr>
          <a:xfrm>
            <a:off x="11657710" y="5959885"/>
            <a:ext cx="428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Poppins Medium" panose="00000600000000000000" pitchFamily="2" charset="0"/>
                <a:ea typeface="+mn-ea"/>
                <a:cs typeface="Poppins Medium" panose="000006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00">
                <a:gradFill>
                  <a:gsLst>
                    <a:gs pos="0">
                      <a:srgbClr val="31C9A2"/>
                    </a:gs>
                    <a:gs pos="100000">
                      <a:srgbClr val="2A94DD"/>
                    </a:gs>
                  </a:gsLst>
                  <a:lin ang="1080000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t>0</a:t>
            </a:r>
            <a:fld id="{4AA98139-DA01-49B0-927E-FE0B7A59B93B}" type="slidenum">
              <a:rPr lang="en-US" sz="1300" smtClean="0">
                <a:gradFill>
                  <a:gsLst>
                    <a:gs pos="0">
                      <a:srgbClr val="31C9A2"/>
                    </a:gs>
                    <a:gs pos="100000">
                      <a:srgbClr val="2A94DD"/>
                    </a:gs>
                  </a:gsLst>
                  <a:lin ang="1080000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pPr/>
              <a:t>5</a:t>
            </a:fld>
            <a:endParaRPr lang="en-US" sz="1300">
              <a:gradFill>
                <a:gsLst>
                  <a:gs pos="0">
                    <a:srgbClr val="31C9A2"/>
                  </a:gs>
                  <a:gs pos="100000">
                    <a:srgbClr val="2A94DD"/>
                  </a:gs>
                </a:gsLst>
                <a:lin ang="10800000" scaled="1"/>
              </a:gra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351349-CF18-451C-A2E1-795BD866B786}"/>
              </a:ext>
            </a:extLst>
          </p:cNvPr>
          <p:cNvSpPr txBox="1"/>
          <p:nvPr/>
        </p:nvSpPr>
        <p:spPr>
          <a:xfrm rot="16200000">
            <a:off x="9539332" y="3244333"/>
            <a:ext cx="4571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 rtl="1"/>
            <a:r>
              <a:rPr lang="en-US" b="1" dirty="0">
                <a:gradFill>
                  <a:gsLst>
                    <a:gs pos="21000">
                      <a:srgbClr val="31C9A2"/>
                    </a:gs>
                    <a:gs pos="100000">
                      <a:srgbClr val="2A94DD"/>
                    </a:gs>
                  </a:gsLst>
                  <a:lin ang="8100000" scaled="1"/>
                </a:gradFill>
                <a:latin typeface="DIN Next LT Arabic Light" panose="020B0303020203050203" pitchFamily="34" charset="-78"/>
                <a:cs typeface="DIN Next LT Arabic Light" panose="020B0303020203050203" pitchFamily="34" charset="-78"/>
              </a:rPr>
              <a:t>The future of primary care in Saudi Arabia</a:t>
            </a:r>
            <a:endParaRPr lang="ar-SA" b="1" dirty="0">
              <a:gradFill>
                <a:gsLst>
                  <a:gs pos="21000">
                    <a:srgbClr val="31C9A2"/>
                  </a:gs>
                  <a:gs pos="100000">
                    <a:srgbClr val="2A94DD"/>
                  </a:gs>
                </a:gsLst>
                <a:lin ang="8100000" scaled="1"/>
              </a:gradFill>
              <a:latin typeface="DIN Next LT Arabic Light" panose="020B0303020203050203" pitchFamily="34" charset="-78"/>
              <a:cs typeface="DIN Next LT Arabic Light" panose="020B0303020203050203" pitchFamily="34" charset="-78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422255" y="1500544"/>
            <a:ext cx="946799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dirty="0">
                <a:solidFill>
                  <a:srgbClr val="03A5B8"/>
                </a:solidFill>
              </a:rPr>
              <a:t>In accordance with the Alma-Ata declaration, Saudi Arabia has </a:t>
            </a:r>
            <a:r>
              <a:rPr lang="en-US" sz="2000" b="1" dirty="0">
                <a:solidFill>
                  <a:srgbClr val="03A5B8"/>
                </a:solidFill>
              </a:rPr>
              <a:t>committed to develop</a:t>
            </a:r>
            <a:r>
              <a:rPr lang="en-US" sz="2400" dirty="0">
                <a:solidFill>
                  <a:srgbClr val="03A5B8"/>
                </a:solidFill>
              </a:rPr>
              <a:t> </a:t>
            </a:r>
            <a:r>
              <a:rPr lang="en-US" dirty="0">
                <a:solidFill>
                  <a:srgbClr val="03A5B8"/>
                </a:solidFill>
              </a:rPr>
              <a:t>its primary health care services. </a:t>
            </a:r>
            <a:endParaRPr lang="en-US" sz="2400" dirty="0">
              <a:solidFill>
                <a:srgbClr val="03A5B8"/>
              </a:solidFill>
              <a:latin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423086" y="1569805"/>
            <a:ext cx="51709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>
              <a:solidFill>
                <a:srgbClr val="03A5B8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422256" y="2559051"/>
            <a:ext cx="97537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dirty="0">
                <a:solidFill>
                  <a:srgbClr val="03A5B8"/>
                </a:solidFill>
              </a:rPr>
              <a:t>The Ministry of Health integrated both </a:t>
            </a:r>
            <a:r>
              <a:rPr lang="en-US" sz="2000" b="1" dirty="0">
                <a:solidFill>
                  <a:srgbClr val="03A5B8"/>
                </a:solidFill>
              </a:rPr>
              <a:t>preventive</a:t>
            </a:r>
            <a:r>
              <a:rPr lang="en-US" dirty="0">
                <a:solidFill>
                  <a:srgbClr val="03A5B8"/>
                </a:solidFill>
              </a:rPr>
              <a:t> and basic </a:t>
            </a:r>
            <a:r>
              <a:rPr lang="en-US" sz="2000" b="1" dirty="0">
                <a:solidFill>
                  <a:srgbClr val="03A5B8"/>
                </a:solidFill>
              </a:rPr>
              <a:t>curative</a:t>
            </a:r>
            <a:r>
              <a:rPr lang="en-US" dirty="0">
                <a:solidFill>
                  <a:srgbClr val="03A5B8"/>
                </a:solidFill>
              </a:rPr>
              <a:t> health care services in 1984. </a:t>
            </a:r>
            <a:endParaRPr lang="en-US" sz="2400" dirty="0">
              <a:solidFill>
                <a:srgbClr val="03A5B8"/>
              </a:solidFill>
              <a:latin typeface="Arial" panose="020B0604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422255" y="3613868"/>
            <a:ext cx="9467995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dirty="0">
                <a:solidFill>
                  <a:srgbClr val="03A5B8"/>
                </a:solidFill>
              </a:rPr>
              <a:t>These services targeted </a:t>
            </a:r>
            <a:r>
              <a:rPr lang="en-US" sz="2000" b="1" dirty="0">
                <a:solidFill>
                  <a:srgbClr val="03A5B8"/>
                </a:solidFill>
              </a:rPr>
              <a:t>individuals, families and the community</a:t>
            </a:r>
            <a:r>
              <a:rPr lang="en-US" dirty="0">
                <a:solidFill>
                  <a:srgbClr val="03A5B8"/>
                </a:solidFill>
              </a:rPr>
              <a:t>, and provided a range of health care services including maternal and child health, immunization for communicable diseases, follow-up for patients with chronic diseases, dental care services, health education and essential drugs.</a:t>
            </a:r>
            <a:endParaRPr lang="en-US" sz="2400" dirty="0">
              <a:solidFill>
                <a:srgbClr val="03A5B8"/>
              </a:solidFill>
              <a:latin typeface="Arial" panose="020B0604020202020204" pitchFamily="34" charset="0"/>
            </a:endParaRPr>
          </a:p>
          <a:p>
            <a:endParaRPr lang="en-US" dirty="0">
              <a:solidFill>
                <a:srgbClr val="03A5B8"/>
              </a:solidFill>
            </a:endParaRPr>
          </a:p>
          <a:p>
            <a:endParaRPr lang="en-US" dirty="0">
              <a:solidFill>
                <a:srgbClr val="03A5B8"/>
              </a:solidFill>
            </a:endParaRPr>
          </a:p>
          <a:p>
            <a:endParaRPr lang="en-US" dirty="0">
              <a:solidFill>
                <a:srgbClr val="03A5B8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66634" y="1338972"/>
            <a:ext cx="806631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4800" b="1" dirty="0">
                <a:solidFill>
                  <a:srgbClr val="E7E6E6"/>
                </a:solidFill>
                <a:latin typeface="DIN Next LT Arabic" panose="020B0603020203050203" pitchFamily="34" charset="-78"/>
                <a:cs typeface="DIN Next LT Arabic" panose="020B0603020203050203" pitchFamily="34" charset="-78"/>
              </a:rPr>
              <a:t>01</a:t>
            </a:r>
            <a:endParaRPr lang="x-none" sz="4800" dirty="0">
              <a:solidFill>
                <a:srgbClr val="E7E6E6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66634" y="2328218"/>
            <a:ext cx="79778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4800" b="1" dirty="0">
                <a:solidFill>
                  <a:srgbClr val="E7E6E6"/>
                </a:solidFill>
                <a:latin typeface="DIN Next LT Arabic" panose="020B0603020203050203" pitchFamily="34" charset="-78"/>
                <a:cs typeface="DIN Next LT Arabic" panose="020B0603020203050203" pitchFamily="34" charset="-78"/>
              </a:rPr>
              <a:t>02</a:t>
            </a:r>
            <a:endParaRPr lang="x-none" sz="4800" dirty="0">
              <a:solidFill>
                <a:srgbClr val="E7E6E6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66633" y="3428999"/>
            <a:ext cx="78976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4800" b="1" dirty="0">
                <a:solidFill>
                  <a:srgbClr val="E7E6E6"/>
                </a:solidFill>
                <a:latin typeface="DIN Next LT Arabic" panose="020B0603020203050203" pitchFamily="34" charset="-78"/>
                <a:cs typeface="DIN Next LT Arabic" panose="020B0603020203050203" pitchFamily="34" charset="-78"/>
              </a:rPr>
              <a:t>03</a:t>
            </a:r>
            <a:endParaRPr lang="x-none" sz="4800" dirty="0">
              <a:solidFill>
                <a:srgbClr val="E7E6E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7503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71320"/>
                <a:lumOff val="28680"/>
              </a:schemeClr>
            </a:gs>
            <a:gs pos="71000">
              <a:schemeClr val="bg1">
                <a:lumMod val="95000"/>
              </a:schemeClr>
            </a:gs>
            <a:gs pos="100000">
              <a:schemeClr val="bg1">
                <a:lumMod val="9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C14DAAA-858C-D7B5-9394-EB50F51674D4}"/>
              </a:ext>
            </a:extLst>
          </p:cNvPr>
          <p:cNvSpPr/>
          <p:nvPr/>
        </p:nvSpPr>
        <p:spPr>
          <a:xfrm>
            <a:off x="0" y="0"/>
            <a:ext cx="11535507" cy="1257300"/>
          </a:xfrm>
          <a:prstGeom prst="rect">
            <a:avLst/>
          </a:prstGeom>
          <a:gradFill flip="none" rotWithShape="1">
            <a:gsLst>
              <a:gs pos="79000">
                <a:srgbClr val="2B9ED2">
                  <a:alpha val="94000"/>
                </a:srgbClr>
              </a:gs>
              <a:gs pos="0">
                <a:srgbClr val="31C9A2">
                  <a:alpha val="68000"/>
                </a:srgbClr>
              </a:gs>
              <a:gs pos="100000">
                <a:srgbClr val="2A94D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solidFill>
                  <a:prstClr val="white"/>
                </a:solidFill>
                <a:latin typeface="DIN Next LT Arabic Medium" panose="020B0603020203050203" pitchFamily="34" charset="-78"/>
                <a:cs typeface="DIN Next LT Arabic Medium" panose="020B0603020203050203" pitchFamily="34" charset="-78"/>
              </a:rPr>
              <a:t>Whole-person care—is the hallmark of the good Primary Care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36AE757-3809-4B35-A27C-074B01E7AE3F}"/>
              </a:ext>
            </a:extLst>
          </p:cNvPr>
          <p:cNvSpPr txBox="1">
            <a:spLocks/>
          </p:cNvSpPr>
          <p:nvPr/>
        </p:nvSpPr>
        <p:spPr>
          <a:xfrm>
            <a:off x="11657710" y="5959885"/>
            <a:ext cx="428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Poppins Medium" panose="00000600000000000000" pitchFamily="2" charset="0"/>
                <a:ea typeface="+mn-ea"/>
                <a:cs typeface="Poppins Medium" panose="000006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AA98139-DA01-49B0-927E-FE0B7A59B93B}" type="slidenum">
              <a:rPr lang="en-US" sz="1300" smtClean="0">
                <a:gradFill>
                  <a:gsLst>
                    <a:gs pos="0">
                      <a:srgbClr val="31C9A2"/>
                    </a:gs>
                    <a:gs pos="100000">
                      <a:srgbClr val="2A94DD"/>
                    </a:gs>
                  </a:gsLst>
                  <a:lin ang="1080000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pPr/>
              <a:t>6</a:t>
            </a:fld>
            <a:endParaRPr lang="en-US" sz="1300" dirty="0">
              <a:gradFill>
                <a:gsLst>
                  <a:gs pos="0">
                    <a:srgbClr val="31C9A2"/>
                  </a:gs>
                  <a:gs pos="100000">
                    <a:srgbClr val="2A94DD"/>
                  </a:gs>
                </a:gsLst>
                <a:lin ang="10800000" scaled="1"/>
              </a:gra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351349-CF18-451C-A2E1-795BD866B786}"/>
              </a:ext>
            </a:extLst>
          </p:cNvPr>
          <p:cNvSpPr txBox="1"/>
          <p:nvPr/>
        </p:nvSpPr>
        <p:spPr>
          <a:xfrm rot="16200000">
            <a:off x="9539340" y="3244333"/>
            <a:ext cx="4571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rtl="1"/>
            <a:r>
              <a:rPr lang="en-US" b="1" dirty="0">
                <a:gradFill>
                  <a:gsLst>
                    <a:gs pos="21000">
                      <a:srgbClr val="31C9A2"/>
                    </a:gs>
                    <a:gs pos="100000">
                      <a:srgbClr val="2A94DD"/>
                    </a:gs>
                  </a:gsLst>
                  <a:lin ang="8100000" scaled="1"/>
                </a:gradFill>
                <a:latin typeface="DIN Next LT Arabic Light" panose="020B0303020203050203" pitchFamily="34" charset="-78"/>
                <a:cs typeface="DIN Next LT Arabic Light" panose="020B0303020203050203" pitchFamily="34" charset="-78"/>
              </a:rPr>
              <a:t>The future of primary care in Saudi Arabia</a:t>
            </a:r>
          </a:p>
        </p:txBody>
      </p:sp>
      <p:sp>
        <p:nvSpPr>
          <p:cNvPr id="2" name="Rectangle 1"/>
          <p:cNvSpPr/>
          <p:nvPr/>
        </p:nvSpPr>
        <p:spPr>
          <a:xfrm>
            <a:off x="0" y="1257300"/>
            <a:ext cx="11535507" cy="56007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rtl="1">
              <a:lnSpc>
                <a:spcPct val="90000"/>
              </a:lnSpc>
              <a:spcBef>
                <a:spcPts val="750"/>
              </a:spcBef>
            </a:pPr>
            <a:endParaRPr lang="en-US" sz="1400" dirty="0">
              <a:solidFill>
                <a:prstClr val="black"/>
              </a:solidFill>
              <a:latin typeface="DIN Next LT Arabic"/>
              <a:cs typeface="TheSans" panose="020B0503040302020203" pitchFamily="34" charset="-78"/>
            </a:endParaRPr>
          </a:p>
          <a:p>
            <a:pPr defTabSz="685800">
              <a:lnSpc>
                <a:spcPct val="90000"/>
              </a:lnSpc>
              <a:spcBef>
                <a:spcPts val="750"/>
              </a:spcBef>
            </a:pPr>
            <a:r>
              <a:rPr lang="en-US" sz="2000" dirty="0">
                <a:solidFill>
                  <a:prstClr val="black"/>
                </a:solidFill>
                <a:latin typeface="DIN Next LT Arabic"/>
                <a:cs typeface="TheSans" panose="020B0503040302020203" pitchFamily="34" charset="-78"/>
              </a:rPr>
              <a:t>	</a:t>
            </a:r>
            <a:r>
              <a:rPr lang="en-US" sz="2000" b="1" dirty="0">
                <a:solidFill>
                  <a:prstClr val="black"/>
                </a:solidFill>
                <a:latin typeface="DIN Next LT Arabic"/>
                <a:cs typeface="TheSans" panose="020B0503040302020203" pitchFamily="34" charset="-78"/>
              </a:rPr>
              <a:t>The patient-centered consultation not only takes into account the diagnosed disease and its management but also adds another dimension—that of the psychosocial hallmarks of the patient, including details about:</a:t>
            </a:r>
          </a:p>
          <a:p>
            <a:pPr defTabSz="685800">
              <a:lnSpc>
                <a:spcPct val="90000"/>
              </a:lnSpc>
              <a:spcBef>
                <a:spcPts val="750"/>
              </a:spcBef>
            </a:pPr>
            <a:endParaRPr lang="en-US" sz="2000" dirty="0">
              <a:solidFill>
                <a:prstClr val="black"/>
              </a:solidFill>
              <a:latin typeface="DIN Next LT Arabic"/>
              <a:cs typeface="TheSans" panose="020B0503040302020203" pitchFamily="34" charset="-78"/>
            </a:endParaRPr>
          </a:p>
          <a:p>
            <a:pPr marL="914400" lvl="1" indent="-457200" defTabSz="685800">
              <a:lnSpc>
                <a:spcPct val="90000"/>
              </a:lnSpc>
              <a:spcBef>
                <a:spcPts val="750"/>
              </a:spcBef>
              <a:buFont typeface="+mj-lt"/>
              <a:buAutoNum type="arabicPeriod"/>
            </a:pPr>
            <a:r>
              <a:rPr lang="en-US" sz="2000" dirty="0">
                <a:solidFill>
                  <a:prstClr val="black"/>
                </a:solidFill>
                <a:latin typeface="DIN Next LT Arabic"/>
                <a:cs typeface="TheSans" panose="020B0503040302020203" pitchFamily="34" charset="-78"/>
              </a:rPr>
              <a:t>The patient as a person</a:t>
            </a:r>
          </a:p>
          <a:p>
            <a:pPr marL="914400" lvl="1" indent="-457200" defTabSz="685800">
              <a:lnSpc>
                <a:spcPct val="90000"/>
              </a:lnSpc>
              <a:spcBef>
                <a:spcPts val="750"/>
              </a:spcBef>
              <a:buFont typeface="+mj-lt"/>
              <a:buAutoNum type="arabicPeriod"/>
            </a:pPr>
            <a:r>
              <a:rPr lang="en-US" sz="2000" dirty="0">
                <a:solidFill>
                  <a:prstClr val="black"/>
                </a:solidFill>
                <a:latin typeface="DIN Next LT Arabic"/>
                <a:cs typeface="TheSans" panose="020B0503040302020203" pitchFamily="34" charset="-78"/>
              </a:rPr>
              <a:t>Emotional reactions to the illness </a:t>
            </a:r>
          </a:p>
          <a:p>
            <a:pPr marL="914400" lvl="1" indent="-457200" defTabSz="685800">
              <a:lnSpc>
                <a:spcPct val="90000"/>
              </a:lnSpc>
              <a:spcBef>
                <a:spcPts val="750"/>
              </a:spcBef>
              <a:buFont typeface="+mj-lt"/>
              <a:buAutoNum type="arabicPeriod"/>
            </a:pPr>
            <a:r>
              <a:rPr lang="en-US" sz="2000" dirty="0">
                <a:solidFill>
                  <a:prstClr val="black"/>
                </a:solidFill>
                <a:latin typeface="DIN Next LT Arabic"/>
                <a:cs typeface="TheSans" panose="020B0503040302020203" pitchFamily="34" charset="-78"/>
              </a:rPr>
              <a:t>The family </a:t>
            </a:r>
          </a:p>
          <a:p>
            <a:pPr marL="914400" lvl="1" indent="-457200" defTabSz="685800">
              <a:lnSpc>
                <a:spcPct val="90000"/>
              </a:lnSpc>
              <a:spcBef>
                <a:spcPts val="750"/>
              </a:spcBef>
              <a:buFont typeface="+mj-lt"/>
              <a:buAutoNum type="arabicPeriod"/>
            </a:pPr>
            <a:r>
              <a:rPr lang="en-US" sz="2000" dirty="0">
                <a:solidFill>
                  <a:prstClr val="black"/>
                </a:solidFill>
                <a:latin typeface="DIN Next LT Arabic"/>
                <a:cs typeface="TheSans" panose="020B0503040302020203" pitchFamily="34" charset="-78"/>
              </a:rPr>
              <a:t>The effect on relationships </a:t>
            </a:r>
          </a:p>
          <a:p>
            <a:pPr marL="914400" lvl="1" indent="-457200" defTabSz="685800">
              <a:lnSpc>
                <a:spcPct val="90000"/>
              </a:lnSpc>
              <a:spcBef>
                <a:spcPts val="750"/>
              </a:spcBef>
              <a:buFont typeface="+mj-lt"/>
              <a:buAutoNum type="arabicPeriod"/>
            </a:pPr>
            <a:r>
              <a:rPr lang="en-US" sz="2000" dirty="0">
                <a:solidFill>
                  <a:prstClr val="black"/>
                </a:solidFill>
                <a:latin typeface="DIN Next LT Arabic"/>
                <a:cs typeface="TheSans" panose="020B0503040302020203" pitchFamily="34" charset="-78"/>
              </a:rPr>
              <a:t>Work and leisure </a:t>
            </a:r>
          </a:p>
          <a:p>
            <a:pPr marL="914400" lvl="1" indent="-457200" defTabSz="685800">
              <a:lnSpc>
                <a:spcPct val="90000"/>
              </a:lnSpc>
              <a:spcBef>
                <a:spcPts val="750"/>
              </a:spcBef>
              <a:buFont typeface="+mj-lt"/>
              <a:buAutoNum type="arabicPeriod"/>
            </a:pPr>
            <a:r>
              <a:rPr lang="en-US" sz="2000" dirty="0">
                <a:solidFill>
                  <a:prstClr val="black"/>
                </a:solidFill>
                <a:latin typeface="DIN Next LT Arabic"/>
                <a:cs typeface="TheSans" panose="020B0503040302020203" pitchFamily="34" charset="-78"/>
              </a:rPr>
              <a:t>Lifestyle </a:t>
            </a:r>
          </a:p>
          <a:p>
            <a:pPr marL="914400" lvl="1" indent="-457200" defTabSz="685800">
              <a:lnSpc>
                <a:spcPct val="90000"/>
              </a:lnSpc>
              <a:spcBef>
                <a:spcPts val="750"/>
              </a:spcBef>
              <a:buFont typeface="+mj-lt"/>
              <a:buAutoNum type="arabicPeriod"/>
            </a:pPr>
            <a:r>
              <a:rPr lang="en-US" sz="2000" dirty="0">
                <a:solidFill>
                  <a:prstClr val="black"/>
                </a:solidFill>
                <a:latin typeface="DIN Next LT Arabic"/>
                <a:cs typeface="TheSans" panose="020B0503040302020203" pitchFamily="34" charset="-78"/>
              </a:rPr>
              <a:t>The environment</a:t>
            </a:r>
            <a:endParaRPr lang="en-US" sz="2000" i="1" dirty="0">
              <a:solidFill>
                <a:prstClr val="black"/>
              </a:solidFill>
              <a:latin typeface="DIN Next LT Arabic"/>
              <a:cs typeface="TheSans" panose="020B0503040302020203" pitchFamily="34" charset="-78"/>
            </a:endParaRPr>
          </a:p>
          <a:p>
            <a:pPr marL="914400" lvl="1" indent="-457200" defTabSz="685800">
              <a:lnSpc>
                <a:spcPct val="90000"/>
              </a:lnSpc>
              <a:spcBef>
                <a:spcPts val="750"/>
              </a:spcBef>
              <a:buFont typeface="+mj-lt"/>
              <a:buAutoNum type="arabicPeriod"/>
            </a:pPr>
            <a:endParaRPr lang="en-US" sz="2000" i="1" dirty="0">
              <a:solidFill>
                <a:prstClr val="black"/>
              </a:solidFill>
              <a:latin typeface="DIN Next LT Arabic"/>
              <a:cs typeface="TheSans" panose="020B0503040302020203" pitchFamily="34" charset="-78"/>
            </a:endParaRPr>
          </a:p>
          <a:p>
            <a:pPr marL="914400" lvl="1" indent="-457200" defTabSz="685800">
              <a:lnSpc>
                <a:spcPct val="90000"/>
              </a:lnSpc>
              <a:spcBef>
                <a:spcPts val="750"/>
              </a:spcBef>
              <a:buFont typeface="+mj-lt"/>
              <a:buAutoNum type="arabicPeriod"/>
            </a:pPr>
            <a:endParaRPr lang="en-US" sz="2000" i="1" dirty="0">
              <a:solidFill>
                <a:prstClr val="black"/>
              </a:solidFill>
              <a:latin typeface="DIN Next LT Arabic"/>
              <a:cs typeface="TheSans" panose="020B0503040302020203" pitchFamily="34" charset="-78"/>
            </a:endParaRPr>
          </a:p>
          <a:p>
            <a:pPr lvl="1" defTabSz="685800">
              <a:lnSpc>
                <a:spcPct val="90000"/>
              </a:lnSpc>
              <a:spcBef>
                <a:spcPts val="750"/>
              </a:spcBef>
            </a:pPr>
            <a:endParaRPr lang="en-US" sz="2000" i="1" dirty="0">
              <a:solidFill>
                <a:prstClr val="black"/>
              </a:solidFill>
              <a:latin typeface="DIN Next LT Arabic"/>
              <a:cs typeface="TheSans" panose="020B0503040302020203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707573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71320"/>
                <a:lumOff val="28680"/>
              </a:schemeClr>
            </a:gs>
            <a:gs pos="71000">
              <a:schemeClr val="bg1">
                <a:lumMod val="95000"/>
              </a:schemeClr>
            </a:gs>
            <a:gs pos="100000">
              <a:schemeClr val="bg1">
                <a:lumMod val="9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C14DAAA-858C-D7B5-9394-EB50F51674D4}"/>
              </a:ext>
            </a:extLst>
          </p:cNvPr>
          <p:cNvSpPr/>
          <p:nvPr/>
        </p:nvSpPr>
        <p:spPr>
          <a:xfrm>
            <a:off x="0" y="0"/>
            <a:ext cx="11535507" cy="1257300"/>
          </a:xfrm>
          <a:prstGeom prst="rect">
            <a:avLst/>
          </a:prstGeom>
          <a:gradFill flip="none" rotWithShape="1">
            <a:gsLst>
              <a:gs pos="79000">
                <a:srgbClr val="2B9ED2">
                  <a:alpha val="94000"/>
                </a:srgbClr>
              </a:gs>
              <a:gs pos="0">
                <a:srgbClr val="31C9A2">
                  <a:alpha val="68000"/>
                </a:srgbClr>
              </a:gs>
              <a:gs pos="100000">
                <a:srgbClr val="2A94D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solidFill>
                  <a:prstClr val="white"/>
                </a:solidFill>
                <a:latin typeface="DIN Next LT Arabic Medium" panose="020B0603020203050203" pitchFamily="34" charset="-78"/>
                <a:cs typeface="DIN Next LT Arabic Medium" panose="020B0603020203050203" pitchFamily="34" charset="-78"/>
              </a:rPr>
              <a:t>The main elements of Primary Care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36AE757-3809-4B35-A27C-074B01E7AE3F}"/>
              </a:ext>
            </a:extLst>
          </p:cNvPr>
          <p:cNvSpPr txBox="1">
            <a:spLocks/>
          </p:cNvSpPr>
          <p:nvPr/>
        </p:nvSpPr>
        <p:spPr>
          <a:xfrm>
            <a:off x="11657710" y="5959885"/>
            <a:ext cx="428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Poppins Medium" panose="00000600000000000000" pitchFamily="2" charset="0"/>
                <a:ea typeface="+mn-ea"/>
                <a:cs typeface="Poppins Medium" panose="000006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AA98139-DA01-49B0-927E-FE0B7A59B93B}" type="slidenum">
              <a:rPr lang="en-US" sz="1300" smtClean="0">
                <a:gradFill>
                  <a:gsLst>
                    <a:gs pos="0">
                      <a:srgbClr val="31C9A2"/>
                    </a:gs>
                    <a:gs pos="100000">
                      <a:srgbClr val="2A94DD"/>
                    </a:gs>
                  </a:gsLst>
                  <a:lin ang="1080000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pPr/>
              <a:t>7</a:t>
            </a:fld>
            <a:endParaRPr lang="en-US" sz="1300" dirty="0">
              <a:gradFill>
                <a:gsLst>
                  <a:gs pos="0">
                    <a:srgbClr val="31C9A2"/>
                  </a:gs>
                  <a:gs pos="100000">
                    <a:srgbClr val="2A94DD"/>
                  </a:gs>
                </a:gsLst>
                <a:lin ang="10800000" scaled="1"/>
              </a:gra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351349-CF18-451C-A2E1-795BD866B786}"/>
              </a:ext>
            </a:extLst>
          </p:cNvPr>
          <p:cNvSpPr txBox="1"/>
          <p:nvPr/>
        </p:nvSpPr>
        <p:spPr>
          <a:xfrm rot="16200000">
            <a:off x="9539340" y="3244333"/>
            <a:ext cx="4571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rtl="1"/>
            <a:r>
              <a:rPr lang="en-US" b="1" dirty="0">
                <a:gradFill>
                  <a:gsLst>
                    <a:gs pos="21000">
                      <a:srgbClr val="31C9A2"/>
                    </a:gs>
                    <a:gs pos="100000">
                      <a:srgbClr val="2A94DD"/>
                    </a:gs>
                  </a:gsLst>
                  <a:lin ang="8100000" scaled="1"/>
                </a:gradFill>
                <a:latin typeface="DIN Next LT Arabic Light" panose="020B0303020203050203" pitchFamily="34" charset="-78"/>
                <a:cs typeface="DIN Next LT Arabic Light" panose="020B0303020203050203" pitchFamily="34" charset="-78"/>
              </a:rPr>
              <a:t>The future of primary care in Saudi Arabia</a:t>
            </a:r>
          </a:p>
        </p:txBody>
      </p:sp>
      <p:sp>
        <p:nvSpPr>
          <p:cNvPr id="2" name="Rectangle 1"/>
          <p:cNvSpPr/>
          <p:nvPr/>
        </p:nvSpPr>
        <p:spPr>
          <a:xfrm>
            <a:off x="0" y="1257300"/>
            <a:ext cx="11535507" cy="56007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rtl="1">
              <a:lnSpc>
                <a:spcPct val="90000"/>
              </a:lnSpc>
              <a:spcBef>
                <a:spcPts val="750"/>
              </a:spcBef>
            </a:pPr>
            <a:endParaRPr lang="en-US" sz="1400" dirty="0">
              <a:solidFill>
                <a:prstClr val="black"/>
              </a:solidFill>
              <a:latin typeface="DIN Next LT Arabic"/>
              <a:cs typeface="TheSans" panose="020B0503040302020203" pitchFamily="34" charset="-78"/>
            </a:endParaRPr>
          </a:p>
          <a:p>
            <a:pPr defTabSz="685800">
              <a:lnSpc>
                <a:spcPct val="90000"/>
              </a:lnSpc>
              <a:spcBef>
                <a:spcPts val="750"/>
              </a:spcBef>
            </a:pPr>
            <a:r>
              <a:rPr lang="en-US" sz="2000" b="1" dirty="0">
                <a:solidFill>
                  <a:prstClr val="black"/>
                </a:solidFill>
                <a:latin typeface="DIN Next LT Arabic"/>
                <a:cs typeface="TheSans" panose="020B0503040302020203" pitchFamily="34" charset="-78"/>
              </a:rPr>
              <a:t>There are eight essential components of PHC:</a:t>
            </a:r>
          </a:p>
          <a:p>
            <a:pPr defTabSz="685800">
              <a:lnSpc>
                <a:spcPct val="90000"/>
              </a:lnSpc>
              <a:spcBef>
                <a:spcPts val="750"/>
              </a:spcBef>
            </a:pPr>
            <a:r>
              <a:rPr lang="en-US" sz="2000" b="1" dirty="0">
                <a:solidFill>
                  <a:prstClr val="black"/>
                </a:solidFill>
                <a:latin typeface="DIN Next LT Arabic"/>
                <a:cs typeface="TheSans" panose="020B0503040302020203" pitchFamily="34" charset="-78"/>
              </a:rPr>
              <a:t> </a:t>
            </a:r>
          </a:p>
          <a:p>
            <a:pPr marL="914400" lvl="1" indent="-457200" defTabSz="685800">
              <a:lnSpc>
                <a:spcPct val="90000"/>
              </a:lnSpc>
              <a:spcBef>
                <a:spcPts val="750"/>
              </a:spcBef>
              <a:buFont typeface="+mj-lt"/>
              <a:buAutoNum type="arabicPeriod"/>
            </a:pPr>
            <a:r>
              <a:rPr lang="en-US" sz="2000" dirty="0">
                <a:solidFill>
                  <a:prstClr val="black"/>
                </a:solidFill>
                <a:latin typeface="DIN Next LT Arabic"/>
                <a:cs typeface="TheSans" panose="020B0503040302020203" pitchFamily="34" charset="-78"/>
              </a:rPr>
              <a:t>Health education, on prevailing health problems and the methods of preventing and controlling them. </a:t>
            </a:r>
          </a:p>
          <a:p>
            <a:pPr marL="914400" lvl="1" indent="-457200" defTabSz="685800">
              <a:lnSpc>
                <a:spcPct val="90000"/>
              </a:lnSpc>
              <a:spcBef>
                <a:spcPts val="750"/>
              </a:spcBef>
              <a:buFont typeface="+mj-lt"/>
              <a:buAutoNum type="arabicPeriod"/>
            </a:pPr>
            <a:r>
              <a:rPr lang="en-US" sz="2000" dirty="0">
                <a:solidFill>
                  <a:prstClr val="black"/>
                </a:solidFill>
                <a:latin typeface="DIN Next LT Arabic"/>
                <a:cs typeface="TheSans" panose="020B0503040302020203" pitchFamily="34" charset="-78"/>
              </a:rPr>
              <a:t>Nutritional promotion including food supply.</a:t>
            </a:r>
          </a:p>
          <a:p>
            <a:pPr marL="914400" lvl="1" indent="-457200" defTabSz="685800">
              <a:lnSpc>
                <a:spcPct val="90000"/>
              </a:lnSpc>
              <a:spcBef>
                <a:spcPts val="750"/>
              </a:spcBef>
              <a:buFont typeface="+mj-lt"/>
              <a:buAutoNum type="arabicPeriod"/>
            </a:pPr>
            <a:r>
              <a:rPr lang="en-US" sz="2000" dirty="0">
                <a:solidFill>
                  <a:prstClr val="black"/>
                </a:solidFill>
                <a:latin typeface="DIN Next LT Arabic"/>
                <a:cs typeface="TheSans" panose="020B0503040302020203" pitchFamily="34" charset="-78"/>
              </a:rPr>
              <a:t>Supply of adequate safe water and sanitization. </a:t>
            </a:r>
          </a:p>
          <a:p>
            <a:pPr marL="914400" lvl="1" indent="-457200" defTabSz="685800">
              <a:lnSpc>
                <a:spcPct val="90000"/>
              </a:lnSpc>
              <a:spcBef>
                <a:spcPts val="750"/>
              </a:spcBef>
              <a:buFont typeface="+mj-lt"/>
              <a:buAutoNum type="arabicPeriod"/>
            </a:pPr>
            <a:r>
              <a:rPr lang="en-US" sz="2000" dirty="0">
                <a:solidFill>
                  <a:prstClr val="black"/>
                </a:solidFill>
                <a:latin typeface="DIN Next LT Arabic"/>
                <a:cs typeface="TheSans" panose="020B0503040302020203" pitchFamily="34" charset="-78"/>
              </a:rPr>
              <a:t>Maternal and child health care. </a:t>
            </a:r>
          </a:p>
          <a:p>
            <a:pPr marL="914400" lvl="1" indent="-457200" defTabSz="685800">
              <a:lnSpc>
                <a:spcPct val="90000"/>
              </a:lnSpc>
              <a:spcBef>
                <a:spcPts val="750"/>
              </a:spcBef>
              <a:buFont typeface="+mj-lt"/>
              <a:buAutoNum type="arabicPeriod"/>
            </a:pPr>
            <a:r>
              <a:rPr lang="en-US" sz="2000" dirty="0">
                <a:solidFill>
                  <a:prstClr val="black"/>
                </a:solidFill>
                <a:latin typeface="DIN Next LT Arabic"/>
                <a:cs typeface="TheSans" panose="020B0503040302020203" pitchFamily="34" charset="-78"/>
              </a:rPr>
              <a:t>Immunization against major infectious diseases. </a:t>
            </a:r>
          </a:p>
          <a:p>
            <a:pPr marL="914400" lvl="1" indent="-457200" defTabSz="685800">
              <a:lnSpc>
                <a:spcPct val="90000"/>
              </a:lnSpc>
              <a:spcBef>
                <a:spcPts val="750"/>
              </a:spcBef>
              <a:buFont typeface="+mj-lt"/>
              <a:buAutoNum type="arabicPeriod"/>
            </a:pPr>
            <a:r>
              <a:rPr lang="en-US" sz="2000" dirty="0">
                <a:solidFill>
                  <a:prstClr val="black"/>
                </a:solidFill>
                <a:latin typeface="DIN Next LT Arabic"/>
                <a:cs typeface="TheSans" panose="020B0503040302020203" pitchFamily="34" charset="-78"/>
              </a:rPr>
              <a:t>Prevention and control of locally endemic diseases. </a:t>
            </a:r>
          </a:p>
          <a:p>
            <a:pPr marL="914400" lvl="1" indent="-457200" defTabSz="685800">
              <a:lnSpc>
                <a:spcPct val="90000"/>
              </a:lnSpc>
              <a:spcBef>
                <a:spcPts val="750"/>
              </a:spcBef>
              <a:buFont typeface="+mj-lt"/>
              <a:buAutoNum type="arabicPeriod"/>
            </a:pPr>
            <a:r>
              <a:rPr lang="en-US" sz="2000" dirty="0">
                <a:solidFill>
                  <a:prstClr val="black"/>
                </a:solidFill>
                <a:latin typeface="DIN Next LT Arabic"/>
                <a:cs typeface="TheSans" panose="020B0503040302020203" pitchFamily="34" charset="-78"/>
              </a:rPr>
              <a:t>Appropriate treatment of common diseases and injuries. </a:t>
            </a:r>
          </a:p>
          <a:p>
            <a:pPr marL="914400" lvl="1" indent="-457200" defTabSz="685800">
              <a:lnSpc>
                <a:spcPct val="90000"/>
              </a:lnSpc>
              <a:spcBef>
                <a:spcPts val="750"/>
              </a:spcBef>
              <a:buFont typeface="+mj-lt"/>
              <a:buAutoNum type="arabicPeriod"/>
            </a:pPr>
            <a:r>
              <a:rPr lang="en-US" sz="2000" dirty="0">
                <a:solidFill>
                  <a:prstClr val="black"/>
                </a:solidFill>
                <a:latin typeface="DIN Next LT Arabic"/>
                <a:cs typeface="TheSans" panose="020B0503040302020203" pitchFamily="34" charset="-78"/>
              </a:rPr>
              <a:t>Provisions for essential drugs.</a:t>
            </a:r>
          </a:p>
          <a:p>
            <a:pPr marL="457200" indent="-457200" defTabSz="685800">
              <a:lnSpc>
                <a:spcPct val="90000"/>
              </a:lnSpc>
              <a:spcBef>
                <a:spcPts val="750"/>
              </a:spcBef>
              <a:buFont typeface="+mj-lt"/>
              <a:buAutoNum type="arabicPeriod"/>
            </a:pPr>
            <a:endParaRPr lang="en-US" sz="2000" b="1" dirty="0">
              <a:solidFill>
                <a:prstClr val="black"/>
              </a:solidFill>
              <a:latin typeface="DIN Next LT Arabic"/>
              <a:cs typeface="TheSans" panose="020B0503040302020203" pitchFamily="34" charset="-78"/>
            </a:endParaRPr>
          </a:p>
          <a:p>
            <a:pPr defTabSz="685800">
              <a:lnSpc>
                <a:spcPct val="90000"/>
              </a:lnSpc>
              <a:spcBef>
                <a:spcPts val="750"/>
              </a:spcBef>
            </a:pPr>
            <a:r>
              <a:rPr lang="en-US" sz="2000" b="1" dirty="0">
                <a:solidFill>
                  <a:prstClr val="black"/>
                </a:solidFill>
                <a:latin typeface="DIN Next LT Arabic"/>
                <a:cs typeface="TheSans" panose="020B0503040302020203" pitchFamily="34" charset="-78"/>
              </a:rPr>
              <a:t>All these basic requirements are incorporated in the SDGs for 2030 from goal 2 to goal 4.</a:t>
            </a:r>
            <a:endParaRPr lang="en-US" sz="2000" i="1" dirty="0">
              <a:solidFill>
                <a:prstClr val="black"/>
              </a:solidFill>
              <a:latin typeface="DIN Next LT Arabic"/>
              <a:cs typeface="TheSans" panose="020B0503040302020203" pitchFamily="34" charset="-78"/>
            </a:endParaRPr>
          </a:p>
          <a:p>
            <a:pPr marL="914400" lvl="1" indent="-457200" defTabSz="685800">
              <a:lnSpc>
                <a:spcPct val="90000"/>
              </a:lnSpc>
              <a:spcBef>
                <a:spcPts val="750"/>
              </a:spcBef>
              <a:buFont typeface="+mj-lt"/>
              <a:buAutoNum type="arabicPeriod"/>
            </a:pPr>
            <a:endParaRPr lang="en-US" sz="2000" i="1" dirty="0">
              <a:solidFill>
                <a:prstClr val="black"/>
              </a:solidFill>
              <a:latin typeface="DIN Next LT Arabic"/>
              <a:cs typeface="TheSans" panose="020B0503040302020203" pitchFamily="34" charset="-78"/>
            </a:endParaRPr>
          </a:p>
          <a:p>
            <a:pPr lvl="1" defTabSz="685800">
              <a:lnSpc>
                <a:spcPct val="90000"/>
              </a:lnSpc>
              <a:spcBef>
                <a:spcPts val="750"/>
              </a:spcBef>
            </a:pPr>
            <a:endParaRPr lang="en-US" sz="2000" i="1" dirty="0">
              <a:solidFill>
                <a:prstClr val="black"/>
              </a:solidFill>
              <a:latin typeface="DIN Next LT Arabic"/>
              <a:cs typeface="TheSans" panose="020B0503040302020203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8151498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71320"/>
                <a:lumOff val="28680"/>
              </a:schemeClr>
            </a:gs>
            <a:gs pos="71000">
              <a:schemeClr val="bg1">
                <a:lumMod val="95000"/>
              </a:schemeClr>
            </a:gs>
            <a:gs pos="100000">
              <a:schemeClr val="bg1">
                <a:lumMod val="9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C14DAAA-858C-D7B5-9394-EB50F51674D4}"/>
              </a:ext>
            </a:extLst>
          </p:cNvPr>
          <p:cNvSpPr/>
          <p:nvPr/>
        </p:nvSpPr>
        <p:spPr>
          <a:xfrm>
            <a:off x="0" y="0"/>
            <a:ext cx="11535507" cy="1257300"/>
          </a:xfrm>
          <a:prstGeom prst="rect">
            <a:avLst/>
          </a:prstGeom>
          <a:gradFill flip="none" rotWithShape="1">
            <a:gsLst>
              <a:gs pos="79000">
                <a:srgbClr val="2B9ED2">
                  <a:alpha val="94000"/>
                </a:srgbClr>
              </a:gs>
              <a:gs pos="0">
                <a:srgbClr val="31C9A2">
                  <a:alpha val="68000"/>
                </a:srgbClr>
              </a:gs>
              <a:gs pos="100000">
                <a:srgbClr val="2A94D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solidFill>
                  <a:prstClr val="white"/>
                </a:solidFill>
                <a:latin typeface="DIN Next LT Arabic Medium" panose="020B0603020203050203" pitchFamily="34" charset="-78"/>
                <a:cs typeface="DIN Next LT Arabic Medium" panose="020B0603020203050203" pitchFamily="34" charset="-78"/>
              </a:rPr>
              <a:t>The degrees of care 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36AE757-3809-4B35-A27C-074B01E7AE3F}"/>
              </a:ext>
            </a:extLst>
          </p:cNvPr>
          <p:cNvSpPr txBox="1">
            <a:spLocks/>
          </p:cNvSpPr>
          <p:nvPr/>
        </p:nvSpPr>
        <p:spPr>
          <a:xfrm>
            <a:off x="11657710" y="5959885"/>
            <a:ext cx="428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Poppins Medium" panose="00000600000000000000" pitchFamily="2" charset="0"/>
                <a:ea typeface="+mn-ea"/>
                <a:cs typeface="Poppins Medium" panose="000006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AA98139-DA01-49B0-927E-FE0B7A59B93B}" type="slidenum">
              <a:rPr lang="en-US" sz="1300" smtClean="0">
                <a:gradFill>
                  <a:gsLst>
                    <a:gs pos="0">
                      <a:srgbClr val="31C9A2"/>
                    </a:gs>
                    <a:gs pos="100000">
                      <a:srgbClr val="2A94DD"/>
                    </a:gs>
                  </a:gsLst>
                  <a:lin ang="1080000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pPr/>
              <a:t>8</a:t>
            </a:fld>
            <a:endParaRPr lang="en-US" sz="1300" dirty="0">
              <a:gradFill>
                <a:gsLst>
                  <a:gs pos="0">
                    <a:srgbClr val="31C9A2"/>
                  </a:gs>
                  <a:gs pos="100000">
                    <a:srgbClr val="2A94DD"/>
                  </a:gs>
                </a:gsLst>
                <a:lin ang="10800000" scaled="1"/>
              </a:gra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351349-CF18-451C-A2E1-795BD866B786}"/>
              </a:ext>
            </a:extLst>
          </p:cNvPr>
          <p:cNvSpPr txBox="1"/>
          <p:nvPr/>
        </p:nvSpPr>
        <p:spPr>
          <a:xfrm rot="16200000">
            <a:off x="9539340" y="3244333"/>
            <a:ext cx="4571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rtl="1"/>
            <a:r>
              <a:rPr lang="en-US" b="1" dirty="0">
                <a:gradFill>
                  <a:gsLst>
                    <a:gs pos="21000">
                      <a:srgbClr val="31C9A2"/>
                    </a:gs>
                    <a:gs pos="100000">
                      <a:srgbClr val="2A94DD"/>
                    </a:gs>
                  </a:gsLst>
                  <a:lin ang="8100000" scaled="1"/>
                </a:gradFill>
                <a:latin typeface="DIN Next LT Arabic Light" panose="020B0303020203050203" pitchFamily="34" charset="-78"/>
                <a:cs typeface="DIN Next LT Arabic Light" panose="020B0303020203050203" pitchFamily="34" charset="-78"/>
              </a:rPr>
              <a:t>The future of primary care in Saudi Arabia</a:t>
            </a:r>
          </a:p>
        </p:txBody>
      </p:sp>
      <p:sp>
        <p:nvSpPr>
          <p:cNvPr id="2" name="Rectangle 1"/>
          <p:cNvSpPr/>
          <p:nvPr/>
        </p:nvSpPr>
        <p:spPr>
          <a:xfrm>
            <a:off x="0" y="1257300"/>
            <a:ext cx="11535507" cy="56007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rtl="1">
              <a:lnSpc>
                <a:spcPct val="90000"/>
              </a:lnSpc>
              <a:spcBef>
                <a:spcPts val="750"/>
              </a:spcBef>
            </a:pPr>
            <a:endParaRPr lang="en-US" sz="1400" dirty="0">
              <a:solidFill>
                <a:prstClr val="black"/>
              </a:solidFill>
              <a:latin typeface="DIN Next LT Arabic"/>
              <a:cs typeface="TheSans" panose="020B0503040302020203" pitchFamily="34" charset="-78"/>
            </a:endParaRPr>
          </a:p>
          <a:p>
            <a:pPr defTabSz="685800">
              <a:lnSpc>
                <a:spcPct val="90000"/>
              </a:lnSpc>
              <a:spcBef>
                <a:spcPts val="750"/>
              </a:spcBef>
            </a:pPr>
            <a:r>
              <a:rPr lang="en-US" sz="2000" dirty="0">
                <a:solidFill>
                  <a:prstClr val="black"/>
                </a:solidFill>
                <a:latin typeface="DIN Next LT Arabic"/>
                <a:cs typeface="TheSans" panose="020B0503040302020203" pitchFamily="34" charset="-78"/>
              </a:rPr>
              <a:t>	</a:t>
            </a:r>
            <a:endParaRPr lang="en-US" sz="2000" i="1" dirty="0">
              <a:solidFill>
                <a:prstClr val="black"/>
              </a:solidFill>
              <a:latin typeface="DIN Next LT Arabic"/>
              <a:cs typeface="TheSans" panose="020B0503040302020203" pitchFamily="34" charset="-78"/>
            </a:endParaRPr>
          </a:p>
          <a:p>
            <a:pPr marL="914400" lvl="1" indent="-457200" defTabSz="685800">
              <a:lnSpc>
                <a:spcPct val="90000"/>
              </a:lnSpc>
              <a:spcBef>
                <a:spcPts val="750"/>
              </a:spcBef>
              <a:buFont typeface="+mj-lt"/>
              <a:buAutoNum type="arabicPeriod"/>
            </a:pPr>
            <a:endParaRPr lang="en-US" sz="2000" i="1" dirty="0">
              <a:solidFill>
                <a:prstClr val="black"/>
              </a:solidFill>
              <a:latin typeface="DIN Next LT Arabic"/>
              <a:cs typeface="TheSans" panose="020B0503040302020203" pitchFamily="34" charset="-78"/>
            </a:endParaRPr>
          </a:p>
          <a:p>
            <a:pPr lvl="1" defTabSz="685800">
              <a:lnSpc>
                <a:spcPct val="90000"/>
              </a:lnSpc>
              <a:spcBef>
                <a:spcPts val="750"/>
              </a:spcBef>
            </a:pPr>
            <a:endParaRPr lang="en-US" sz="2000" i="1" dirty="0">
              <a:solidFill>
                <a:prstClr val="black"/>
              </a:solidFill>
              <a:latin typeface="DIN Next LT Arabic"/>
              <a:cs typeface="TheSans" panose="020B0503040302020203" pitchFamily="34" charset="-78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58324" y="1263630"/>
            <a:ext cx="5901075" cy="5569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9288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stone building with a blue sky&#10;&#10;Description automatically generated">
            <a:extLst>
              <a:ext uri="{FF2B5EF4-FFF2-40B4-BE49-F238E27FC236}">
                <a16:creationId xmlns:a16="http://schemas.microsoft.com/office/drawing/2014/main" id="{9108245F-C523-7FEC-E7AB-EF61C8849A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4925"/>
            <a:ext cx="12254730" cy="68230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4A0B84B-47BB-CCDC-55A0-329EA44CEE3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4359"/>
          <a:stretch/>
        </p:blipFill>
        <p:spPr>
          <a:xfrm>
            <a:off x="1121565" y="1130678"/>
            <a:ext cx="2641600" cy="257772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30036AE-74C9-1EC2-C2B2-A67ACA9E273C}"/>
              </a:ext>
            </a:extLst>
          </p:cNvPr>
          <p:cNvSpPr txBox="1"/>
          <p:nvPr/>
        </p:nvSpPr>
        <p:spPr>
          <a:xfrm>
            <a:off x="4650020" y="-257972"/>
            <a:ext cx="1445980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en-US" sz="25900" dirty="0">
                <a:solidFill>
                  <a:schemeClr val="bg1">
                    <a:lumMod val="95000"/>
                  </a:schemeClr>
                </a:solidFill>
                <a:latin typeface="Raleway SemiBold" panose="020B0703030101060003" pitchFamily="34" charset="0"/>
                <a:cs typeface="Poppins SemiBold" panose="00000700000000000000" pitchFamily="2" charset="0"/>
              </a:rPr>
              <a:t>“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1FDF151-3D12-295E-EDFD-5E07D0EB0BE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63481" y="247650"/>
            <a:ext cx="1257300" cy="7620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D8B3B9F-A944-5FD0-28C5-FD47357F1B76}"/>
              </a:ext>
            </a:extLst>
          </p:cNvPr>
          <p:cNvSpPr txBox="1"/>
          <p:nvPr/>
        </p:nvSpPr>
        <p:spPr>
          <a:xfrm>
            <a:off x="1016000" y="3966372"/>
            <a:ext cx="25270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3200" b="1" dirty="0">
                <a:solidFill>
                  <a:schemeClr val="bg1"/>
                </a:solidFill>
                <a:latin typeface="Avenir Black" panose="02000503020000020003" pitchFamily="2" charset="0"/>
              </a:rPr>
              <a:t>920011909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50488" y="0"/>
            <a:ext cx="12305218" cy="725456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44880" y="29315"/>
            <a:ext cx="6944952" cy="611904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95617" y="1009650"/>
            <a:ext cx="5189080" cy="175432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lvl="0" defTabSz="685800" rtl="1">
              <a:lnSpc>
                <a:spcPct val="90000"/>
              </a:lnSpc>
              <a:spcBef>
                <a:spcPts val="750"/>
              </a:spcBef>
            </a:pPr>
            <a:r>
              <a:rPr lang="en-US" sz="4000" b="1" dirty="0">
                <a:solidFill>
                  <a:schemeClr val="bg1"/>
                </a:solidFill>
                <a:latin typeface="DIN Next LT Arabic"/>
                <a:cs typeface="TheSans" panose="020B0503040302020203" pitchFamily="34" charset="-78"/>
              </a:rPr>
              <a:t>Enhancement of primary care project</a:t>
            </a:r>
          </a:p>
          <a:p>
            <a:endParaRPr lang="en-US" dirty="0">
              <a:solidFill>
                <a:schemeClr val="bg1">
                  <a:lumMod val="95000"/>
                </a:schemeClr>
              </a:solidFill>
            </a:endParaRPr>
          </a:p>
          <a:p>
            <a:endParaRPr lang="ar-SA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9656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H (EN)">
  <a:themeElements>
    <a:clrScheme name="MoH1">
      <a:dk1>
        <a:srgbClr val="2A2A2C"/>
      </a:dk1>
      <a:lt1>
        <a:sysClr val="window" lastClr="FFFFFF"/>
      </a:lt1>
      <a:dk2>
        <a:srgbClr val="171616"/>
      </a:dk2>
      <a:lt2>
        <a:srgbClr val="E7E6E6"/>
      </a:lt2>
      <a:accent1>
        <a:srgbClr val="008755"/>
      </a:accent1>
      <a:accent2>
        <a:srgbClr val="66B799"/>
      </a:accent2>
      <a:accent3>
        <a:srgbClr val="C3BF9F"/>
      </a:accent3>
      <a:accent4>
        <a:srgbClr val="FFC000"/>
      </a:accent4>
      <a:accent5>
        <a:srgbClr val="C00000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HC-TBC Weekly Report Template_210801_v03" id="{7D31A2EA-9C13-4959-92B0-05946732E8D1}" vid="{3BCCAECB-7B89-446D-8AAC-AC2E2896971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06</TotalTime>
  <Words>1259</Words>
  <Application>Microsoft Macintosh PowerPoint</Application>
  <PresentationFormat>Widescreen</PresentationFormat>
  <Paragraphs>313</Paragraphs>
  <Slides>26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8" baseType="lpstr">
      <vt:lpstr>Arial</vt:lpstr>
      <vt:lpstr>Avenir Black</vt:lpstr>
      <vt:lpstr>Calibri</vt:lpstr>
      <vt:lpstr>DIN Next LT Arabic</vt:lpstr>
      <vt:lpstr>DIN Next LT Arabic Light</vt:lpstr>
      <vt:lpstr>DIN Next LT Arabic Medium</vt:lpstr>
      <vt:lpstr>GE SS Unique</vt:lpstr>
      <vt:lpstr>Poppins SemiBold</vt:lpstr>
      <vt:lpstr>Raleway SemiBold</vt:lpstr>
      <vt:lpstr>Office Theme</vt:lpstr>
      <vt:lpstr>MoH (EN)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va Aryanto</dc:creator>
  <cp:lastModifiedBy>Dralk F</cp:lastModifiedBy>
  <cp:revision>771</cp:revision>
  <dcterms:created xsi:type="dcterms:W3CDTF">2021-12-02T07:20:22Z</dcterms:created>
  <dcterms:modified xsi:type="dcterms:W3CDTF">2025-03-05T09:12:13Z</dcterms:modified>
</cp:coreProperties>
</file>